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FDE4_1AF3E588.xml" ContentType="application/vnd.ms-powerpoint.comment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FFFDE8_15A1C766.xml" ContentType="application/vnd.ms-powerpoint.comment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21_94A9627B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</p:sldMasterIdLst>
  <p:notesMasterIdLst>
    <p:notesMasterId r:id="rId24"/>
  </p:notesMasterIdLst>
  <p:sldIdLst>
    <p:sldId id="2076138423" r:id="rId5"/>
    <p:sldId id="2076138386" r:id="rId6"/>
    <p:sldId id="2076138451" r:id="rId7"/>
    <p:sldId id="2134807410" r:id="rId8"/>
    <p:sldId id="2134807419" r:id="rId9"/>
    <p:sldId id="2134807404" r:id="rId10"/>
    <p:sldId id="2134807409" r:id="rId11"/>
    <p:sldId id="2134807406" r:id="rId12"/>
    <p:sldId id="2134807420" r:id="rId13"/>
    <p:sldId id="2134807421" r:id="rId14"/>
    <p:sldId id="2134807390" r:id="rId15"/>
    <p:sldId id="2134807422" r:id="rId16"/>
    <p:sldId id="2147483113" r:id="rId17"/>
    <p:sldId id="2147483108" r:id="rId18"/>
    <p:sldId id="2147483112" r:id="rId19"/>
    <p:sldId id="289" r:id="rId20"/>
    <p:sldId id="2134807417" r:id="rId21"/>
    <p:sldId id="2134807414" r:id="rId22"/>
    <p:sldId id="2134807405" r:id="rId23"/>
  </p:sldIdLst>
  <p:sldSz cx="12192000" cy="6858000"/>
  <p:notesSz cx="7077075" cy="9363075"/>
  <p:custDataLst>
    <p:tags r:id="rId25"/>
  </p:custDataLst>
  <p:defaultTextStyle>
    <a:defPPr>
      <a:defRPr lang="he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MO" id="{8223BBB0-B098-41F9-972A-E824553812EE}">
          <p14:sldIdLst/>
        </p14:section>
        <p14:section name="CEO Kick Off Section" id="{1F5FE367-8FCE-46D2-88DB-6202670345D6}">
          <p14:sldIdLst>
            <p14:sldId id="2076138423"/>
            <p14:sldId id="2076138386"/>
            <p14:sldId id="2076138451"/>
            <p14:sldId id="2134807410"/>
            <p14:sldId id="2134807419"/>
            <p14:sldId id="2134807404"/>
            <p14:sldId id="2134807409"/>
            <p14:sldId id="2134807406"/>
            <p14:sldId id="2134807420"/>
            <p14:sldId id="2134807421"/>
            <p14:sldId id="2134807390"/>
            <p14:sldId id="2134807422"/>
            <p14:sldId id="2147483113"/>
            <p14:sldId id="2147483108"/>
            <p14:sldId id="2147483112"/>
            <p14:sldId id="289"/>
            <p14:sldId id="2134807417"/>
            <p14:sldId id="2134807414"/>
            <p14:sldId id="21348074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C1F80C-213B-8A1C-77A5-65F5EB2D7993}" name="Uma Shankar Kulasekaran" initials="" userId="S::UmaShankar.Kulasekaran@niceactimize.com::f7d47ec9-0314-4426-a83d-8f7fa7de8ac1" providerId="AD"/>
  <p188:author id="{11B0BC10-5E95-BEA0-268F-DC2CDBF52AE0}" name="Liron Reitman" initials="" userId="S::Liron.Reitman@niceactimize.com::98b8a20b-b827-4175-8949-437227caf11f" providerId="AD"/>
  <p188:author id="{BDDCEE31-62F5-7B71-5678-A807B25AB3AD}" name="Itai Bloom" initials="IB" userId="S::itai.bloom@nice.com::d76db4f6-dabc-4892-8008-c18f6e0f70d6" providerId="AD"/>
  <p188:author id="{3F297873-B346-CD18-1E71-103181D82202}" name="Yuval Marco" initials="" userId="S::Yuval.Marco@niceactimize.com::28640e81-dd92-4089-9499-24e7fcfc31ad" providerId="AD"/>
  <p188:author id="{7332758D-FDB0-BA8F-D795-04BF8E0E34B4}" name="Meytal Melamed" initials="MM" userId="S::meytal.melamed@nice.com::7c372845-a314-45e5-a0a5-dfb238da237f" providerId="AD"/>
  <p188:author id="{85E3F6E4-CD66-1604-7C76-7E92A55F7845}" name="Achi Hackmon" initials="AH" userId="S::Achi.Hackmon@niceactimize.com::8e717801-51ea-4b37-a8dd-ac949e5512e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isol Correia" initials="CC" lastIdx="5" clrIdx="6">
    <p:extLst>
      <p:ext uri="{19B8F6BF-5375-455C-9EA6-DF929625EA0E}">
        <p15:presenceInfo xmlns:p15="http://schemas.microsoft.com/office/powerpoint/2012/main" userId="f5869226d9a86e19" providerId="Windows Live"/>
      </p:ext>
    </p:extLst>
  </p:cmAuthor>
  <p:cmAuthor id="1" name="Elad Nissenberg" initials="EN" lastIdx="1" clrIdx="0">
    <p:extLst>
      <p:ext uri="{19B8F6BF-5375-455C-9EA6-DF929625EA0E}">
        <p15:presenceInfo xmlns:p15="http://schemas.microsoft.com/office/powerpoint/2012/main" userId="S::Elad.Nissenberg@nice.com::4c41fb42-e1cd-4406-b6a2-dad93466c2ac" providerId="AD"/>
      </p:ext>
    </p:extLst>
  </p:cmAuthor>
  <p:cmAuthor id="8" name="Yakir Lazarov" initials="YL" lastIdx="29" clrIdx="7">
    <p:extLst>
      <p:ext uri="{19B8F6BF-5375-455C-9EA6-DF929625EA0E}">
        <p15:presenceInfo xmlns:p15="http://schemas.microsoft.com/office/powerpoint/2012/main" userId="S::yakir.lazarov@nice.com::32e5091a-89af-4760-bef3-3d87e4ab44da" providerId="AD"/>
      </p:ext>
    </p:extLst>
  </p:cmAuthor>
  <p:cmAuthor id="2" name="Stephen Taylor" initials="ST" lastIdx="1" clrIdx="1">
    <p:extLst>
      <p:ext uri="{19B8F6BF-5375-455C-9EA6-DF929625EA0E}">
        <p15:presenceInfo xmlns:p15="http://schemas.microsoft.com/office/powerpoint/2012/main" userId="S::Stephen.Taylor@niceactimize.com::8e56ac92-3984-41bd-b011-791e2926bc7f" providerId="AD"/>
      </p:ext>
    </p:extLst>
  </p:cmAuthor>
  <p:cmAuthor id="3" name="Elad Nissenberg" initials="EN [2]" lastIdx="6" clrIdx="2">
    <p:extLst>
      <p:ext uri="{19B8F6BF-5375-455C-9EA6-DF929625EA0E}">
        <p15:presenceInfo xmlns:p15="http://schemas.microsoft.com/office/powerpoint/2012/main" userId="Elad Nissenberg" providerId="None"/>
      </p:ext>
    </p:extLst>
  </p:cmAuthor>
  <p:cmAuthor id="4" name="Itai Brezis" initials="IB" lastIdx="8" clrIdx="3">
    <p:extLst>
      <p:ext uri="{19B8F6BF-5375-455C-9EA6-DF929625EA0E}">
        <p15:presenceInfo xmlns:p15="http://schemas.microsoft.com/office/powerpoint/2012/main" userId="S::Itai.Brezis@nice.com::3cc488f2-da4c-4341-be90-39969c2aabd4" providerId="AD"/>
      </p:ext>
    </p:extLst>
  </p:cmAuthor>
  <p:cmAuthor id="5" name="Achi Hackmon" initials="AH" lastIdx="4" clrIdx="4">
    <p:extLst>
      <p:ext uri="{19B8F6BF-5375-455C-9EA6-DF929625EA0E}">
        <p15:presenceInfo xmlns:p15="http://schemas.microsoft.com/office/powerpoint/2012/main" userId="S::Achi.Hackmon@niceactimize.com::8e717801-51ea-4b37-a8dd-ac949e5512e3" providerId="AD"/>
      </p:ext>
    </p:extLst>
  </p:cmAuthor>
  <p:cmAuthor id="6" name="Itai Bloom" initials="IB" lastIdx="10" clrIdx="5">
    <p:extLst>
      <p:ext uri="{19B8F6BF-5375-455C-9EA6-DF929625EA0E}">
        <p15:presenceInfo xmlns:p15="http://schemas.microsoft.com/office/powerpoint/2012/main" userId="S::itai.bloom@nice.com::d76db4f6-dabc-4892-8008-c18f6e0f70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C9FF"/>
    <a:srgbClr val="9EE1FC"/>
    <a:srgbClr val="7BDFFF"/>
    <a:srgbClr val="0033CC"/>
    <a:srgbClr val="056085"/>
    <a:srgbClr val="069EDB"/>
    <a:srgbClr val="6E7D21"/>
    <a:srgbClr val="C2D561"/>
    <a:srgbClr val="F2F2F2"/>
    <a:srgbClr val="59C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5"/>
    <p:restoredTop sz="94674"/>
  </p:normalViewPr>
  <p:slideViewPr>
    <p:cSldViewPr snapToGrid="0" snapToObjects="1">
      <p:cViewPr varScale="1">
        <p:scale>
          <a:sx n="102" d="100"/>
          <a:sy n="102" d="100"/>
        </p:scale>
        <p:origin x="91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modernComment_121_94A962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A047BDA-07B3-47B8-A42C-A1FE3DD44C24}" authorId="{3F297873-B346-CD18-1E71-103181D82202}" created="2025-03-26T02:37:52.201">
    <pc:sldMkLst xmlns:pc="http://schemas.microsoft.com/office/powerpoint/2013/main/command">
      <pc:docMk/>
      <pc:sldMk cId="2494128763" sldId="289"/>
    </pc:sldMkLst>
    <p188:txBody>
      <a:bodyPr/>
      <a:lstStyle/>
      <a:p>
        <a:r>
          <a:rPr lang="en-US"/>
          <a:t>[@Achi Hackmon] - who can speak to this slide?</a:t>
        </a:r>
      </a:p>
    </p188:txBody>
  </p188:cm>
</p188:cmLst>
</file>

<file path=ppt/comments/modernComment_7FFFFDE4_1AF3E58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E454A9-F3DC-4877-94B6-39A6EDF92450}" authorId="{85E3F6E4-CD66-1604-7C76-7E92A55F7845}" created="2025-03-25T11:13:52.93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2191624" sldId="2147483108"/>
      <ac:spMk id="3" creationId="{96D751E7-5E6D-D730-09F4-303DDA72E156}"/>
      <ac:txMk cp="128" len="78">
        <ac:context len="207" hash="4193127701"/>
      </ac:txMk>
    </ac:txMkLst>
    <p188:pos x="8100475" y="1831574"/>
    <p188:txBody>
      <a:bodyPr/>
      <a:lstStyle/>
      <a:p>
        <a:r>
          <a:rPr lang="he-IL"/>
          <a:t>[@Yuval Marco]  Re the story, need #s on Scams \ Mules and trends
TAM expansion is missing</a:t>
        </a:r>
      </a:p>
    </p188:txBody>
  </p188:cm>
</p188:cmLst>
</file>

<file path=ppt/comments/modernComment_7FFFFDE8_15A1C7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8DF5F28-1120-43BF-BADF-3CBFDE0E88EE}" authorId="{85E3F6E4-CD66-1604-7C76-7E92A55F7845}" created="2025-03-25T11:41:26.44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3" creationId="{FCE5BABA-2C3D-62E0-21D9-2713A87326FE}"/>
      <ac:txMk cp="50">
        <ac:context len="49" hash="3290084309"/>
      </ac:txMk>
    </ac:txMkLst>
    <p188:pos x="2716931" y="800938"/>
    <p188:txBody>
      <a:bodyPr/>
      <a:lstStyle/>
      <a:p>
        <a:r>
          <a:rPr lang="he-IL"/>
          <a:t>[@Yuval Marco]  do we need to mention IFM 11.2 or is this to tactical</a:t>
        </a:r>
      </a:p>
    </p188:txBody>
  </p188:cm>
  <p188:cm id="{B121EB82-82D0-4A3D-A4D2-B14F37402B95}" authorId="{85E3F6E4-CD66-1604-7C76-7E92A55F7845}" created="2025-03-25T13:12:54.25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5" creationId="{6EA3800D-C9DC-3020-13C8-E1ADDEB3BE4B}"/>
      <ac:txMk cp="94">
        <ac:context len="102" hash="3460215014"/>
      </ac:txMk>
    </ac:txMkLst>
    <p188:pos x="1933181" y="1067963"/>
    <p188:replyLst>
      <p188:reply id="{0E5DCCB2-6A99-4133-ACD0-F389CB5E65C6}" authorId="{11B0BC10-5E95-BEA0-268F-DC2CDBF52AE0}" created="2025-03-25T13:29:11.067">
        <p188:txBody>
          <a:bodyPr/>
          <a:lstStyle/>
          <a:p>
            <a:r>
              <a:rPr lang="en-IL"/>
              <a:t>Not mine, I would assume that the person who wrote that meant that after POV will have market validation on our consortium hypotheses . It would only make sense if we would start consortium work only after a successful POV but that is not the case</a:t>
            </a:r>
          </a:p>
        </p188:txBody>
      </p188:reply>
      <p188:reply id="{2A4E3188-4CD6-46FC-B23E-6BCEDBEC5732}" authorId="{7FC1F80C-213B-8A1C-77A5-65F5EB2D7993}" created="2025-03-25T15:52:27.601">
        <p188:txBody>
          <a:bodyPr/>
          <a:lstStyle/>
          <a:p>
            <a:r>
              <a:rPr lang="en-US"/>
              <a:t>[@Uma Shankar Kulasekaran]  [@Liron Reitman] We need to validate the POV output and see if we want to bring in new data sources.</a:t>
            </a:r>
          </a:p>
        </p188:txBody>
      </p188:reply>
    </p188:replyLst>
    <p188:txBody>
      <a:bodyPr/>
      <a:lstStyle/>
      <a:p>
        <a:r>
          <a:rPr lang="he-IL"/>
          <a:t>[@Uma Shankar Kulasekaran] [@Liron Reitman]  what did you mean with Early Adopter Validation?</a:t>
        </a:r>
      </a:p>
    </p188:txBody>
  </p188:cm>
  <p188:cm id="{5B5342A1-F54E-42AB-B038-00A1D7A4D5A6}" authorId="{85E3F6E4-CD66-1604-7C76-7E92A55F7845}" created="2025-03-25T13:14:03.46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23" creationId="{F626787F-6E79-4228-1F09-99C7534ED01A}"/>
      <ac:txMk cp="0" len="7">
        <ac:context len="8" hash="1693941946"/>
      </ac:txMk>
    </ac:txMkLst>
    <p188:pos x="1256035" y="266180"/>
    <p188:replyLst>
      <p188:reply id="{B6D6B931-CB0C-4406-A9B0-E810B36C7352}" authorId="{11B0BC10-5E95-BEA0-268F-DC2CDBF52AE0}" created="2025-03-25T13:32:06.255">
        <p188:txBody>
          <a:bodyPr/>
          <a:lstStyle/>
          <a:p>
            <a:r>
              <a:rPr lang="en-IL"/>
              <a:t>According to R&amp;D - No, according to the plan the same API's that we are creating will support all 3 use cases (AW users, ifm users, non ifm users) so there is no "smaller" part that would still bring value to customer</a:t>
            </a:r>
          </a:p>
        </p188:txBody>
      </p188:reply>
    </p188:replyLst>
    <p188:txBody>
      <a:bodyPr/>
      <a:lstStyle/>
      <a:p>
        <a:r>
          <a:rPr lang="he-IL"/>
          <a:t>[@Liron Reitman]  can we commit on any specific ready capability 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r">
              <a:defRPr sz="1200"/>
            </a:lvl1pPr>
          </a:lstStyle>
          <a:p>
            <a:fld id="{B9BCAF7B-C580-4A18-A3B6-7BC802938158}" type="datetimeFigureOut">
              <a:rPr lang="en-US" smtClean="0"/>
              <a:t>1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0250" y="1169988"/>
            <a:ext cx="5616575" cy="3159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2" tIns="46966" rIns="93932" bIns="4696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79"/>
            <a:ext cx="5661660" cy="3686711"/>
          </a:xfrm>
          <a:prstGeom prst="rect">
            <a:avLst/>
          </a:prstGeom>
        </p:spPr>
        <p:txBody>
          <a:bodyPr vert="horz" lIns="93932" tIns="46966" rIns="93932" bIns="469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r">
              <a:defRPr sz="1200"/>
            </a:lvl1pPr>
          </a:lstStyle>
          <a:p>
            <a:fld id="{7E003FAC-BD53-402A-B860-A242125D7D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07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ssing a big number</a:t>
            </a:r>
          </a:p>
          <a:p>
            <a:pPr marL="171450" indent="-171450">
              <a:buFontTx/>
              <a:buChar char="-"/>
            </a:pPr>
            <a:r>
              <a:rPr lang="en-US"/>
              <a:t>Fraud we can stop</a:t>
            </a:r>
          </a:p>
          <a:p>
            <a:pPr marL="171450" indent="-171450">
              <a:buFontTx/>
              <a:buChar char="-"/>
            </a:pPr>
            <a:r>
              <a:rPr lang="en-US" b="1"/>
              <a:t>WF – 10% , 2M a month. 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How much money is it to the banks</a:t>
            </a:r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34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Please describe the following aspects: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Activities 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M</a:t>
            </a: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ilestones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Deliverables </a:t>
            </a:r>
            <a:endParaRPr lang="en-US" sz="1200" i="1" kern="1200">
              <a:solidFill>
                <a:schemeClr val="dk1"/>
              </a:solidFill>
              <a:highlight>
                <a:srgbClr val="FFFF00"/>
              </a:highlight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21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179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86C0BC-406C-404A-B558-56F4BA40DC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10232298" y="608183"/>
            <a:ext cx="1355992" cy="565732"/>
            <a:chOff x="14972266" y="563887"/>
            <a:chExt cx="2034341" cy="849514"/>
          </a:xfrm>
        </p:grpSpPr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6539508" y="576857"/>
              <a:ext cx="467099" cy="81708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5881882" y="563887"/>
              <a:ext cx="577729" cy="849514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15623748" y="576857"/>
              <a:ext cx="190526" cy="817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14972266" y="576857"/>
              <a:ext cx="546996" cy="81708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Rectangle 12"/>
            <p:cNvSpPr>
              <a:spLocks noChangeArrowheads="1"/>
            </p:cNvSpPr>
            <p:nvPr userDrawn="1"/>
          </p:nvSpPr>
          <p:spPr bwMode="auto">
            <a:xfrm>
              <a:off x="16459610" y="894615"/>
              <a:ext cx="172090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8" name="Rectangle 13"/>
            <p:cNvSpPr>
              <a:spLocks noChangeArrowheads="1"/>
            </p:cNvSpPr>
            <p:nvPr userDrawn="1"/>
          </p:nvSpPr>
          <p:spPr bwMode="auto">
            <a:xfrm>
              <a:off x="1581427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9" name="Rectangle 14"/>
            <p:cNvSpPr>
              <a:spLocks noChangeArrowheads="1"/>
            </p:cNvSpPr>
            <p:nvPr userDrawn="1"/>
          </p:nvSpPr>
          <p:spPr bwMode="auto">
            <a:xfrm>
              <a:off x="1545780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9015153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6851AC7-BD94-427E-9B54-BBD7CAFF665B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BF3C4A7-C89D-491A-A5A5-82B239DC1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8013FE-9868-4FBB-AE5B-CF43DB1EF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3D12ECEF-0114-41BD-81AC-0CBFB59B9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4400753D-D331-4263-994F-DBB81CBF9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2CD8052A-1428-4BC1-A6F0-9DED35B88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37A497E3-1B2E-4D89-87E2-8EAB68B77C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CBF2AB88-21D8-4EEF-8890-5C13702848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B95FE76-AA86-4E39-8757-211CAE207B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360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0415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683D46-3B1F-43F5-9EF0-5D63EE62E672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1D336DF5-A44E-46BA-AAFE-CEA90A5C7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9">
              <a:extLst>
                <a:ext uri="{FF2B5EF4-FFF2-40B4-BE49-F238E27FC236}">
                  <a16:creationId xmlns:a16="http://schemas.microsoft.com/office/drawing/2014/main" id="{C07DC394-59E0-4912-8D51-324A4862B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CB4F5C5B-19CA-42FF-AF3F-42F3F1A5B0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974C23DC-E595-452C-85B5-657294143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F4676689-B2D3-4B3A-9F99-E716329C8A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AC43687C-D6C6-4D5F-A8BB-B5F72A5698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DB8BC89C-0685-4DD2-803F-EAA00FDD6C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1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418592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00" name="Freeform: Shape 58">
            <a:extLst>
              <a:ext uri="{FF2B5EF4-FFF2-40B4-BE49-F238E27FC236}">
                <a16:creationId xmlns:a16="http://schemas.microsoft.com/office/drawing/2014/main" id="{3F4C24A1-81AB-4E95-B1F9-7198F248F950}"/>
              </a:ext>
            </a:extLst>
          </p:cNvPr>
          <p:cNvSpPr/>
          <p:nvPr/>
        </p:nvSpPr>
        <p:spPr>
          <a:xfrm>
            <a:off x="2113780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5 w 1198054"/>
              <a:gd name="connsiteY1" fmla="*/ 0 h 1198054"/>
              <a:gd name="connsiteX2" fmla="*/ 1198055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5" y="0"/>
                </a:lnTo>
                <a:lnTo>
                  <a:pt x="1198055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01" name="Freeform: Shape 59">
            <a:extLst>
              <a:ext uri="{FF2B5EF4-FFF2-40B4-BE49-F238E27FC236}">
                <a16:creationId xmlns:a16="http://schemas.microsoft.com/office/drawing/2014/main" id="{6C467ED5-8DC2-4E5A-B93A-0BBDA8707696}"/>
              </a:ext>
            </a:extLst>
          </p:cNvPr>
          <p:cNvSpPr/>
          <p:nvPr/>
        </p:nvSpPr>
        <p:spPr>
          <a:xfrm>
            <a:off x="3507578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4 w 1198054"/>
              <a:gd name="connsiteY1" fmla="*/ 0 h 1198054"/>
              <a:gd name="connsiteX2" fmla="*/ 1198054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4" y="0"/>
                </a:lnTo>
                <a:lnTo>
                  <a:pt x="1198054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335104" y="2331406"/>
            <a:ext cx="3211285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: Shape 200">
            <a:extLst>
              <a:ext uri="{FF2B5EF4-FFF2-40B4-BE49-F238E27FC236}">
                <a16:creationId xmlns:a16="http://schemas.microsoft.com/office/drawing/2014/main" id="{8D1103C6-3337-4BF7-881F-812A53FFF047}"/>
              </a:ext>
            </a:extLst>
          </p:cNvPr>
          <p:cNvSpPr/>
          <p:nvPr/>
        </p:nvSpPr>
        <p:spPr>
          <a:xfrm>
            <a:off x="2101057" y="1090507"/>
            <a:ext cx="785174" cy="785174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4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39804" y="448271"/>
            <a:ext cx="3373120" cy="6409729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FCB34E59-0DCC-496A-A305-A4EB1A9B1600}"/>
              </a:ext>
            </a:extLst>
          </p:cNvPr>
          <p:cNvGrpSpPr/>
          <p:nvPr/>
        </p:nvGrpSpPr>
        <p:grpSpPr>
          <a:xfrm>
            <a:off x="1850162" y="1078413"/>
            <a:ext cx="4187963" cy="3670165"/>
            <a:chOff x="5032543" y="809464"/>
            <a:chExt cx="6559677" cy="5748641"/>
          </a:xfrm>
          <a:gradFill>
            <a:gsLst>
              <a:gs pos="0">
                <a:schemeClr val="accent4"/>
              </a:gs>
              <a:gs pos="96460">
                <a:schemeClr val="accent5"/>
              </a:gs>
            </a:gsLst>
            <a:lin ang="5400000" scaled="1"/>
          </a:gradFill>
        </p:grpSpPr>
        <p:sp>
          <p:nvSpPr>
            <p:cNvPr id="203" name="Freeform: Shape 61">
              <a:extLst>
                <a:ext uri="{FF2B5EF4-FFF2-40B4-BE49-F238E27FC236}">
                  <a16:creationId xmlns:a16="http://schemas.microsoft.com/office/drawing/2014/main" id="{4A695992-6A70-41BF-98E7-0C6393D219BC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4" name="Freeform: Shape 62">
              <a:extLst>
                <a:ext uri="{FF2B5EF4-FFF2-40B4-BE49-F238E27FC236}">
                  <a16:creationId xmlns:a16="http://schemas.microsoft.com/office/drawing/2014/main" id="{3AFD3DFF-85B9-4C36-A9E5-F756E4F2B893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5" name="Freeform: Shape 63">
              <a:extLst>
                <a:ext uri="{FF2B5EF4-FFF2-40B4-BE49-F238E27FC236}">
                  <a16:creationId xmlns:a16="http://schemas.microsoft.com/office/drawing/2014/main" id="{B8366D18-5409-4EF0-A9DD-C49DE5E73CE8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6" name="Freeform: Shape 64">
              <a:extLst>
                <a:ext uri="{FF2B5EF4-FFF2-40B4-BE49-F238E27FC236}">
                  <a16:creationId xmlns:a16="http://schemas.microsoft.com/office/drawing/2014/main" id="{D5EE1256-1C28-43A8-B58C-E3938B79559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7" name="Freeform: Shape 65">
              <a:extLst>
                <a:ext uri="{FF2B5EF4-FFF2-40B4-BE49-F238E27FC236}">
                  <a16:creationId xmlns:a16="http://schemas.microsoft.com/office/drawing/2014/main" id="{20BD29A3-DCDA-4710-86D9-8420D470B3FA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8" name="Freeform: Shape 66">
              <a:extLst>
                <a:ext uri="{FF2B5EF4-FFF2-40B4-BE49-F238E27FC236}">
                  <a16:creationId xmlns:a16="http://schemas.microsoft.com/office/drawing/2014/main" id="{B1756CB2-646C-4F01-8381-9C94A1B64307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9" name="Freeform: Shape 67">
              <a:extLst>
                <a:ext uri="{FF2B5EF4-FFF2-40B4-BE49-F238E27FC236}">
                  <a16:creationId xmlns:a16="http://schemas.microsoft.com/office/drawing/2014/main" id="{0B8B65E1-DFC4-4997-B094-ADE12A8D976F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0" name="Freeform: Shape 68">
              <a:extLst>
                <a:ext uri="{FF2B5EF4-FFF2-40B4-BE49-F238E27FC236}">
                  <a16:creationId xmlns:a16="http://schemas.microsoft.com/office/drawing/2014/main" id="{2644ADCB-A9C9-4958-8CA3-C60C6107ED22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1" name="Freeform: Shape 69">
              <a:extLst>
                <a:ext uri="{FF2B5EF4-FFF2-40B4-BE49-F238E27FC236}">
                  <a16:creationId xmlns:a16="http://schemas.microsoft.com/office/drawing/2014/main" id="{F7DB6F18-7BB5-4256-BC4C-711519C84FA7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2" name="Freeform: Shape 70">
              <a:extLst>
                <a:ext uri="{FF2B5EF4-FFF2-40B4-BE49-F238E27FC236}">
                  <a16:creationId xmlns:a16="http://schemas.microsoft.com/office/drawing/2014/main" id="{0F86965E-83BF-4C2B-A8B1-6041DAAF8171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3" name="Freeform: Shape 71">
              <a:extLst>
                <a:ext uri="{FF2B5EF4-FFF2-40B4-BE49-F238E27FC236}">
                  <a16:creationId xmlns:a16="http://schemas.microsoft.com/office/drawing/2014/main" id="{88840396-3BBD-4408-9595-B8B3531F008B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4" name="Freeform: Shape 72">
              <a:extLst>
                <a:ext uri="{FF2B5EF4-FFF2-40B4-BE49-F238E27FC236}">
                  <a16:creationId xmlns:a16="http://schemas.microsoft.com/office/drawing/2014/main" id="{E9FDC09F-223B-4BEB-AA9F-FD515BE8043E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5" name="Freeform: Shape 73">
              <a:extLst>
                <a:ext uri="{FF2B5EF4-FFF2-40B4-BE49-F238E27FC236}">
                  <a16:creationId xmlns:a16="http://schemas.microsoft.com/office/drawing/2014/main" id="{AF79710C-D20B-4204-AD3D-8024251CE78C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6" name="Freeform: Shape 74">
              <a:extLst>
                <a:ext uri="{FF2B5EF4-FFF2-40B4-BE49-F238E27FC236}">
                  <a16:creationId xmlns:a16="http://schemas.microsoft.com/office/drawing/2014/main" id="{553D1AC0-AD22-4943-8F92-B6F3AA4E6DE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7" name="Freeform: Shape 75">
              <a:extLst>
                <a:ext uri="{FF2B5EF4-FFF2-40B4-BE49-F238E27FC236}">
                  <a16:creationId xmlns:a16="http://schemas.microsoft.com/office/drawing/2014/main" id="{F85A1254-AD3D-4D0F-B517-6A5C669010E2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8" name="Freeform: Shape 76">
              <a:extLst>
                <a:ext uri="{FF2B5EF4-FFF2-40B4-BE49-F238E27FC236}">
                  <a16:creationId xmlns:a16="http://schemas.microsoft.com/office/drawing/2014/main" id="{24E2FB05-10AD-483B-ADFB-9E090402EB4C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9" name="Freeform: Shape 77">
              <a:extLst>
                <a:ext uri="{FF2B5EF4-FFF2-40B4-BE49-F238E27FC236}">
                  <a16:creationId xmlns:a16="http://schemas.microsoft.com/office/drawing/2014/main" id="{D3CD89C9-73A6-4474-9E5C-4383CA47C456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0" name="Freeform: Shape 78">
              <a:extLst>
                <a:ext uri="{FF2B5EF4-FFF2-40B4-BE49-F238E27FC236}">
                  <a16:creationId xmlns:a16="http://schemas.microsoft.com/office/drawing/2014/main" id="{708CFA1A-09AC-453A-8CAD-DB5534BA3A0A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1" name="Freeform: Shape 79">
              <a:extLst>
                <a:ext uri="{FF2B5EF4-FFF2-40B4-BE49-F238E27FC236}">
                  <a16:creationId xmlns:a16="http://schemas.microsoft.com/office/drawing/2014/main" id="{A3A16799-3D41-4373-89EE-78D5498F573B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2" name="Freeform: Shape 80">
              <a:extLst>
                <a:ext uri="{FF2B5EF4-FFF2-40B4-BE49-F238E27FC236}">
                  <a16:creationId xmlns:a16="http://schemas.microsoft.com/office/drawing/2014/main" id="{A17907E1-7897-4F13-9F13-714EF47C8612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EE7AD0B-0F33-4CF1-B740-7B7200093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0283" y="803052"/>
            <a:ext cx="5509336" cy="558972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68814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"/>
            <a:ext cx="4185920" cy="4077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4077547"/>
            <a:ext cx="4185920" cy="2780452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D731BC8-7A60-465C-AAB6-9BF7E4366E77}"/>
              </a:ext>
            </a:extLst>
          </p:cNvPr>
          <p:cNvGrpSpPr/>
          <p:nvPr/>
        </p:nvGrpSpPr>
        <p:grpSpPr>
          <a:xfrm>
            <a:off x="1864837" y="4367656"/>
            <a:ext cx="1193885" cy="423029"/>
            <a:chOff x="1864837" y="4367656"/>
            <a:chExt cx="1193885" cy="423029"/>
          </a:xfrm>
          <a:solidFill>
            <a:srgbClr val="0006FF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AF05E81-EFAF-4C86-AFEC-113BF4B83254}"/>
                </a:ext>
              </a:extLst>
            </p:cNvPr>
            <p:cNvSpPr/>
            <p:nvPr/>
          </p:nvSpPr>
          <p:spPr>
            <a:xfrm>
              <a:off x="1864837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B5E4DE-F3B8-4B26-8E67-2654B3E8C062}"/>
                </a:ext>
              </a:extLst>
            </p:cNvPr>
            <p:cNvSpPr/>
            <p:nvPr/>
          </p:nvSpPr>
          <p:spPr>
            <a:xfrm>
              <a:off x="2635693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aphic 34">
            <a:extLst>
              <a:ext uri="{FF2B5EF4-FFF2-40B4-BE49-F238E27FC236}">
                <a16:creationId xmlns:a16="http://schemas.microsoft.com/office/drawing/2014/main" id="{2FAFAC8A-B2B2-421E-B720-433B11290B75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0B4650B-476A-42DA-8739-8655AC769FAC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F8F7019-63E4-4A55-9567-2C08A6853E97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phic 34">
            <a:extLst>
              <a:ext uri="{FF2B5EF4-FFF2-40B4-BE49-F238E27FC236}">
                <a16:creationId xmlns:a16="http://schemas.microsoft.com/office/drawing/2014/main" id="{7AB7C8FC-644B-4C3F-A014-37851DE3088D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83F44A-498B-4DA6-BF9F-AE9309EE1626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CEB3D2-42E4-4562-BBE2-71153ADF8E8E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97654FC1-71B5-4D78-93E2-FB68F305C353}"/>
              </a:ext>
            </a:extLst>
          </p:cNvPr>
          <p:cNvGrpSpPr/>
          <p:nvPr/>
        </p:nvGrpSpPr>
        <p:grpSpPr>
          <a:xfrm>
            <a:off x="1668620" y="4269807"/>
            <a:ext cx="2359523" cy="2109062"/>
            <a:chOff x="1668620" y="4269807"/>
            <a:chExt cx="2359523" cy="2109062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E827043-9CAF-4166-9241-5B78D25E3112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557DB61-2F51-4138-B132-2B8341494D09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FEAC88-3261-4BEB-9AAE-0E7A49D15670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827883-BB0A-4F88-B05B-7CBA6388F199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5A7A6E-4530-4A81-A21B-B792A9249BE0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697F57-8FF1-4E40-8E3B-B95655BE4531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38BC7ED-2A15-409B-B948-FCD404B7EFAE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E93D7E8-E61D-4343-9C6F-9CE6DA01F3F3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48B2CE6-1E1D-4726-9D67-431B11EE13EA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1AA4FC-D4BD-4199-A579-98403A94C2C3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9B4D7B4-038E-43E4-B6F5-5891BA84AC35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1366852-02A9-4A01-9699-DD25BF3DE23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F41DAE-0F7D-4106-8B3C-07F84A3CB2AD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36AF4A-02F3-43B7-B003-992B4DC604CB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3472EFA-424D-4255-9B24-E2679869B69B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0C5352C-5F8F-4421-B780-E024468F06AE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F7ABBD6-4E68-47EB-A9C8-5525D058BB69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E0D3A9-E9CF-4822-81CD-3337EE97C9D1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A154B0C-151D-42DB-BFE5-0CF460DB5136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5C36748-22FD-4C03-8084-4BCB2FAD6C9F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9DED59-83E0-4AAE-A2F9-33318CBF8FC5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D1250E9-170C-4C3F-A579-A6AB2BB683A0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1FA00E-97D1-4AD5-9387-F647F736F4D7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7F7510-EDD1-44AC-B9DD-C1772E5F5AB8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2C3CA1B-4AD5-4AFE-84B9-0C9AACF9A9B5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B5C609F-B6AF-4266-B479-FD98F212946B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EEC023-445C-478D-9C38-5E02EC1BBECA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A468BCC-5877-430A-948D-9875FD71274D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F673703-2A53-4DCB-9B83-741AB3DA047B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7E8389A-CFAC-48A9-96CE-1D66912819B4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E3F2D01-6534-471A-B61E-BD5CB6E52311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93275C3-FD99-432A-A3C7-0F873B8026E0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6E443FC-4EE3-44A5-A0EB-847604871980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66955F4-F595-4B1D-8133-7706B48EB16D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18310B0-8EAB-4C05-BD99-A1B1D82240C4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E84574F-15F2-4698-BE7F-A147598CA469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3833E57-917E-474F-8C24-4904B18A6295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C0D29-DF8A-4AC3-99A0-ADEACC209C87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C073DBC-9CD7-4BB1-A31B-CDA93A4B0393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2DAA0A2-4376-4FDB-8184-316DDB949FA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3DF06A5-431F-4299-A9CC-20DC39F41F0C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0A65A9A-6467-4E5C-95A0-EF98A1C95CAE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0D5A860-904A-4CA8-B2B9-CBD5B39153F8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D5E762D-9508-4C27-AF28-AE0E2B90392A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8250BA2-AA5E-4BD6-9A32-120245BBDC9C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8D3E2F-11DF-4E40-89AA-74A3CC02A595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C7EDD53-F141-420A-B1F8-62706F5363D3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DC9921D-1F81-4FE6-B3AA-AAAE3EE2C1C1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7724E0D-FAA2-4045-A19F-07B1CF6C13C6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8AD29CE-E91F-4738-B6BE-57C3F4B02C87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7A7B65C-8A4A-4847-BCF9-3FBEE6DEE482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9C1714A-DEE9-4614-A149-90581D8E4FA7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8ACD01A-6386-48E9-B5A3-87843C5DCBBB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A81CDF-5CBA-4979-A9B2-763DC46DD872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8501AAD-6DD2-4631-A2C8-09E758C9DB15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4D23413-9EB5-4EFB-838B-4D1448880F32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7D3ECCB-ABC0-4D8F-BDDE-C31F0158B02B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6386704-AA0E-43A2-99AC-BFDD9481D8C4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EB5A879-BA59-4F16-9FB0-2EFC641A93B1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101F4A-C9DD-4CA1-94C0-BE9DF06F1BAC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A5BF98E-2258-4D87-9577-6BE6343249D5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7B85272-582B-42CB-B0EB-792C1FA40C27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F2ED694-9062-4E1B-85C9-8A5A8FAB00D4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E5AB988-A081-4596-A4CB-FE898AC806F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19C2573-9510-465F-9A40-5EAF73DB3F70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E154C66-DF9F-481C-8C98-3ABCDC9A4124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B11ED37-09BF-41F3-B5D8-4FE391926B08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D4A36A7-954B-4D63-8DD4-D322E8398E19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2D1CE8-F4B6-4EE9-907F-5EE73375B950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3F104FC-3637-424E-91DA-C7E5BC0D0E38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B90F0-3097-4600-890D-42FB9DABDA39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29D9D3A-A671-49F2-8C8A-99952567C954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D726E68-6E50-461F-94DC-CFDD574106C7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47913C4-54B6-4E54-BCB3-05DC37D1F44B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7A6CB8A-4B50-4E02-B6DC-EE5414452BEA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4D7EBD9-EACB-42CE-B9BD-BDDABE27DFB1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B5D8763-B489-4315-8B18-43FDC49B1EE4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B3850C4-2B40-4D40-9533-E95245B5A3E9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9839680-FB52-48AF-B822-832B2145BDE6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365C043-BB23-4E81-9E02-1A29D1236CFF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3195436-E95C-44A0-B59C-0FF839AC8BD4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0DE32FB-013E-4B68-8677-E7C05A430387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92EB28B4-4C02-42D4-9B00-6CFF8C1DDD5D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5D2B80F-F074-49D8-9968-ECDBC5CA137C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708F089-878F-4C23-9944-051C97F3D975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5037D24-0C06-4297-BF27-DC5E6654F3D0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AE8690A1-043B-4DED-B70E-34D817FC9319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3ECB57FD-BA4A-44C6-B814-6A64912C34D6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50EB557-3F8D-4C17-BEBA-95FAC7002A5E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C7F7623-D0C2-4370-BE79-6895BD595F6C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F6D2C70-1A2D-4754-BD3C-F6F93CBFA2CC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26970B1-7810-4CDE-8F47-5FAD62E22A2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19E2020-7E27-4370-8325-C9E6F3B40BFE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E27184D-FDC2-4DB3-A011-6C3354FF3D85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6C36724-9AAC-4A94-8527-FE22E4892403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699B3B7-7168-418A-8B3B-452CD19D0233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1D387AB-9817-420D-8BCF-12A5A9827808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11FB23E-5FA5-4077-80C6-760E7762AE66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5DDED8C-A55D-48C3-A9F5-DAFE6F670CB9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483688A-FD9D-43ED-98EC-82878F270BF4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FA8F7EE-AF5F-4CA6-9F05-A30AA92CBAE3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3CB6D2A-7162-41B4-AD52-0E43A04C143A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9912123-3AA6-4A02-9816-300A3AD9765F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E061586-526E-40FB-8614-6169C4A80279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Rectangle 25">
            <a:extLst>
              <a:ext uri="{FF2B5EF4-FFF2-40B4-BE49-F238E27FC236}">
                <a16:creationId xmlns:a16="http://schemas.microsoft.com/office/drawing/2014/main" id="{92FF330F-DA94-4BD0-B6FF-5A9B37407F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5976" y="936433"/>
            <a:ext cx="3315761" cy="268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157154D4-5E50-4962-820B-464300B9EF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6661" y="513087"/>
            <a:ext cx="7416607" cy="587594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44006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8497" y="0"/>
            <a:ext cx="4903503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A3B8EB5-0B9C-41D1-8394-79999F444241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B1593ACC-19D8-4077-BA12-6BCF256C1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6F662A34-1F8B-4454-B1A5-23C8B15C6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AE9E099C-839E-48B3-820F-2A28F7F1D9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6092466-76BA-46C8-9F42-903B262B4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CE8F34D8-93EE-4E47-9A80-DF0DB9BC8C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1847F37E-512E-458C-A94F-92F8782ABB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1B4A229A-CD34-43CE-BB76-911304D064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5C6BEC-417D-4C85-B8CC-FFCB25F765B0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25">
            <a:extLst>
              <a:ext uri="{FF2B5EF4-FFF2-40B4-BE49-F238E27FC236}">
                <a16:creationId xmlns:a16="http://schemas.microsoft.com/office/drawing/2014/main" id="{402FFC99-8508-4BB0-AC21-75C1134EB8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08983" y="469680"/>
            <a:ext cx="672536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D63983-DACC-45FF-9232-6261939FFE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673673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4915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08982" y="469680"/>
            <a:ext cx="742936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F3F124-1521-4022-A52C-C462F6CC4B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3813" y="0"/>
            <a:ext cx="4118187" cy="68171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DD50AF-A448-47B7-80B7-C65848457E4F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1FE93C4D-7B33-48A4-962E-DD2E16A1B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2EF55E-F766-41B8-A9ED-CA8EDB297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D82E8D3E-A573-4739-AD8C-67A6518282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283BABD3-BBDD-42C6-BB47-C3404DD41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FEE3817E-CC21-49FC-B17E-607F914712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96E53900-625A-4EA6-8FE0-E3AEDB0247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0248215C-9D4B-4D66-96AE-6A47CC9ED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FA9874-E868-440E-AA3E-A7A83DA7EB3F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EBA617-714A-4E94-B3F8-573367ABA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745295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863432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426347"/>
            <a:ext cx="12192000" cy="4005306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4" name="Freeform: Shape 201">
            <a:extLst>
              <a:ext uri="{FF2B5EF4-FFF2-40B4-BE49-F238E27FC236}">
                <a16:creationId xmlns:a16="http://schemas.microsoft.com/office/drawing/2014/main" id="{68EE6D10-B140-4410-95BB-33C54AAD0B1B}"/>
              </a:ext>
            </a:extLst>
          </p:cNvPr>
          <p:cNvSpPr/>
          <p:nvPr/>
        </p:nvSpPr>
        <p:spPr>
          <a:xfrm>
            <a:off x="7947885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36" name="Freeform: Shape 200">
            <a:extLst>
              <a:ext uri="{FF2B5EF4-FFF2-40B4-BE49-F238E27FC236}">
                <a16:creationId xmlns:a16="http://schemas.microsoft.com/office/drawing/2014/main" id="{CD3B6B17-183F-4E52-9BC7-8019E01FE310}"/>
              </a:ext>
            </a:extLst>
          </p:cNvPr>
          <p:cNvSpPr/>
          <p:nvPr/>
        </p:nvSpPr>
        <p:spPr>
          <a:xfrm>
            <a:off x="6180610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Title 9">
            <a:extLst>
              <a:ext uri="{FF2B5EF4-FFF2-40B4-BE49-F238E27FC236}">
                <a16:creationId xmlns:a16="http://schemas.microsoft.com/office/drawing/2014/main" id="{9C3655E5-5E9C-4129-97FB-9CC2638DD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637" y="1818283"/>
            <a:ext cx="3890385" cy="2797521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C77790-6C21-489F-A57A-A17068741B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9723" y="1322"/>
            <a:ext cx="3239156" cy="6855356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A41A605-67D3-4B9A-B6C7-2887B5BEDE5E}"/>
              </a:ext>
            </a:extLst>
          </p:cNvPr>
          <p:cNvGrpSpPr/>
          <p:nvPr/>
        </p:nvGrpSpPr>
        <p:grpSpPr>
          <a:xfrm>
            <a:off x="5831043" y="1109095"/>
            <a:ext cx="5185825" cy="4539785"/>
            <a:chOff x="6599047" y="1827192"/>
            <a:chExt cx="4490395" cy="3930990"/>
          </a:xfrm>
          <a:gradFill>
            <a:gsLst>
              <a:gs pos="100000">
                <a:schemeClr val="accent1"/>
              </a:gs>
              <a:gs pos="2000">
                <a:schemeClr val="accent2"/>
              </a:gs>
            </a:gsLst>
            <a:lin ang="8100000" scaled="1"/>
          </a:gra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A54EADA-BFDE-4791-AF76-0904126C30B9}"/>
                </a:ext>
              </a:extLst>
            </p:cNvPr>
            <p:cNvGrpSpPr/>
            <p:nvPr userDrawn="1"/>
          </p:nvGrpSpPr>
          <p:grpSpPr>
            <a:xfrm>
              <a:off x="6758990" y="1827192"/>
              <a:ext cx="4330452" cy="3930990"/>
              <a:chOff x="6758990" y="1827192"/>
              <a:chExt cx="4330452" cy="3930990"/>
            </a:xfrm>
            <a:grpFill/>
          </p:grpSpPr>
          <p:sp>
            <p:nvSpPr>
              <p:cNvPr id="43" name="Freeform: Shape 3">
                <a:extLst>
                  <a:ext uri="{FF2B5EF4-FFF2-40B4-BE49-F238E27FC236}">
                    <a16:creationId xmlns:a16="http://schemas.microsoft.com/office/drawing/2014/main" id="{280988F5-3C24-4FA0-8BB9-624DB5211819}"/>
                  </a:ext>
                </a:extLst>
              </p:cNvPr>
              <p:cNvSpPr/>
              <p:nvPr/>
            </p:nvSpPr>
            <p:spPr>
              <a:xfrm>
                <a:off x="6956884" y="50009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6">
                <a:extLst>
                  <a:ext uri="{FF2B5EF4-FFF2-40B4-BE49-F238E27FC236}">
                    <a16:creationId xmlns:a16="http://schemas.microsoft.com/office/drawing/2014/main" id="{0742A604-BB1B-4643-AA3D-CDF999A130D7}"/>
                  </a:ext>
                </a:extLst>
              </p:cNvPr>
              <p:cNvSpPr/>
              <p:nvPr/>
            </p:nvSpPr>
            <p:spPr>
              <a:xfrm>
                <a:off x="6906743" y="512036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7">
                <a:extLst>
                  <a:ext uri="{FF2B5EF4-FFF2-40B4-BE49-F238E27FC236}">
                    <a16:creationId xmlns:a16="http://schemas.microsoft.com/office/drawing/2014/main" id="{0E3096F9-C009-4D28-B5BC-D64E56CC8C2E}"/>
                  </a:ext>
                </a:extLst>
              </p:cNvPr>
              <p:cNvSpPr/>
              <p:nvPr/>
            </p:nvSpPr>
            <p:spPr>
              <a:xfrm>
                <a:off x="6858271" y="52330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8">
                <a:extLst>
                  <a:ext uri="{FF2B5EF4-FFF2-40B4-BE49-F238E27FC236}">
                    <a16:creationId xmlns:a16="http://schemas.microsoft.com/office/drawing/2014/main" id="{462E0B77-7D9D-40EA-959C-6C7508F79320}"/>
                  </a:ext>
                </a:extLst>
              </p:cNvPr>
              <p:cNvSpPr/>
              <p:nvPr/>
            </p:nvSpPr>
            <p:spPr>
              <a:xfrm>
                <a:off x="6806327" y="535698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10">
                <a:extLst>
                  <a:ext uri="{FF2B5EF4-FFF2-40B4-BE49-F238E27FC236}">
                    <a16:creationId xmlns:a16="http://schemas.microsoft.com/office/drawing/2014/main" id="{0702C632-6197-49FE-BF38-84660CAE2E61}"/>
                  </a:ext>
                </a:extLst>
              </p:cNvPr>
              <p:cNvSpPr/>
              <p:nvPr/>
            </p:nvSpPr>
            <p:spPr>
              <a:xfrm>
                <a:off x="6758990" y="548277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11">
                <a:extLst>
                  <a:ext uri="{FF2B5EF4-FFF2-40B4-BE49-F238E27FC236}">
                    <a16:creationId xmlns:a16="http://schemas.microsoft.com/office/drawing/2014/main" id="{9DF437A7-BCD3-4035-BF4F-FE5DC3B04A34}"/>
                  </a:ext>
                </a:extLst>
              </p:cNvPr>
              <p:cNvSpPr/>
              <p:nvPr/>
            </p:nvSpPr>
            <p:spPr>
              <a:xfrm>
                <a:off x="7105706" y="505052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12">
                <a:extLst>
                  <a:ext uri="{FF2B5EF4-FFF2-40B4-BE49-F238E27FC236}">
                    <a16:creationId xmlns:a16="http://schemas.microsoft.com/office/drawing/2014/main" id="{A323A5E5-1FF5-4C8E-B04C-84A7E5889D61}"/>
                  </a:ext>
                </a:extLst>
              </p:cNvPr>
              <p:cNvSpPr/>
              <p:nvPr/>
            </p:nvSpPr>
            <p:spPr>
              <a:xfrm>
                <a:off x="7064044" y="517351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13">
                <a:extLst>
                  <a:ext uri="{FF2B5EF4-FFF2-40B4-BE49-F238E27FC236}">
                    <a16:creationId xmlns:a16="http://schemas.microsoft.com/office/drawing/2014/main" id="{D5E64EDD-0526-4E5B-8CBA-0BE62BD15AC5}"/>
                  </a:ext>
                </a:extLst>
              </p:cNvPr>
              <p:cNvSpPr/>
              <p:nvPr/>
            </p:nvSpPr>
            <p:spPr>
              <a:xfrm>
                <a:off x="7023450" y="528941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14">
                <a:extLst>
                  <a:ext uri="{FF2B5EF4-FFF2-40B4-BE49-F238E27FC236}">
                    <a16:creationId xmlns:a16="http://schemas.microsoft.com/office/drawing/2014/main" id="{92946865-67A8-41C2-AAB0-CF18F6FBA7D8}"/>
                  </a:ext>
                </a:extLst>
              </p:cNvPr>
              <p:cNvSpPr/>
              <p:nvPr/>
            </p:nvSpPr>
            <p:spPr>
              <a:xfrm>
                <a:off x="6980319" y="541654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15">
                <a:extLst>
                  <a:ext uri="{FF2B5EF4-FFF2-40B4-BE49-F238E27FC236}">
                    <a16:creationId xmlns:a16="http://schemas.microsoft.com/office/drawing/2014/main" id="{B4BEFEA7-1026-4893-B6FC-7276C5E58B85}"/>
                  </a:ext>
                </a:extLst>
              </p:cNvPr>
              <p:cNvSpPr/>
              <p:nvPr/>
            </p:nvSpPr>
            <p:spPr>
              <a:xfrm>
                <a:off x="6941595" y="554539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16">
                <a:extLst>
                  <a:ext uri="{FF2B5EF4-FFF2-40B4-BE49-F238E27FC236}">
                    <a16:creationId xmlns:a16="http://schemas.microsoft.com/office/drawing/2014/main" id="{8AF9515A-1F39-4315-B8F8-05BAEB037CCB}"/>
                  </a:ext>
                </a:extLst>
              </p:cNvPr>
              <p:cNvSpPr/>
              <p:nvPr/>
            </p:nvSpPr>
            <p:spPr>
              <a:xfrm>
                <a:off x="7259268" y="50903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18">
                <a:extLst>
                  <a:ext uri="{FF2B5EF4-FFF2-40B4-BE49-F238E27FC236}">
                    <a16:creationId xmlns:a16="http://schemas.microsoft.com/office/drawing/2014/main" id="{6D422664-D0CC-4102-84BD-05A6CC9816C3}"/>
                  </a:ext>
                </a:extLst>
              </p:cNvPr>
              <p:cNvSpPr/>
              <p:nvPr/>
            </p:nvSpPr>
            <p:spPr>
              <a:xfrm>
                <a:off x="7226019" y="521624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19">
                <a:extLst>
                  <a:ext uri="{FF2B5EF4-FFF2-40B4-BE49-F238E27FC236}">
                    <a16:creationId xmlns:a16="http://schemas.microsoft.com/office/drawing/2014/main" id="{A4DF6422-C771-403C-BA40-FB5F1ECE59E3}"/>
                  </a:ext>
                </a:extLst>
              </p:cNvPr>
              <p:cNvSpPr/>
              <p:nvPr/>
            </p:nvSpPr>
            <p:spPr>
              <a:xfrm>
                <a:off x="7193170" y="533481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20">
                <a:extLst>
                  <a:ext uri="{FF2B5EF4-FFF2-40B4-BE49-F238E27FC236}">
                    <a16:creationId xmlns:a16="http://schemas.microsoft.com/office/drawing/2014/main" id="{0E1E6C41-56B6-4BDF-A16C-EA2B614ED9C7}"/>
                  </a:ext>
                </a:extLst>
              </p:cNvPr>
              <p:cNvSpPr/>
              <p:nvPr/>
            </p:nvSpPr>
            <p:spPr>
              <a:xfrm>
                <a:off x="7158785" y="546434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21">
                <a:extLst>
                  <a:ext uri="{FF2B5EF4-FFF2-40B4-BE49-F238E27FC236}">
                    <a16:creationId xmlns:a16="http://schemas.microsoft.com/office/drawing/2014/main" id="{0C631BF0-0715-4019-9EBC-75649145BE3E}"/>
                  </a:ext>
                </a:extLst>
              </p:cNvPr>
              <p:cNvSpPr/>
              <p:nvPr/>
            </p:nvSpPr>
            <p:spPr>
              <a:xfrm>
                <a:off x="7128473" y="559567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22">
                <a:extLst>
                  <a:ext uri="{FF2B5EF4-FFF2-40B4-BE49-F238E27FC236}">
                    <a16:creationId xmlns:a16="http://schemas.microsoft.com/office/drawing/2014/main" id="{0B1C5BCD-D1BB-4BB2-915E-456A6056F137}"/>
                  </a:ext>
                </a:extLst>
              </p:cNvPr>
              <p:cNvSpPr/>
              <p:nvPr/>
            </p:nvSpPr>
            <p:spPr>
              <a:xfrm>
                <a:off x="7417370" y="51207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23">
                <a:extLst>
                  <a:ext uri="{FF2B5EF4-FFF2-40B4-BE49-F238E27FC236}">
                    <a16:creationId xmlns:a16="http://schemas.microsoft.com/office/drawing/2014/main" id="{D1BB66FE-A393-479C-81A3-DD8CA1648CF3}"/>
                  </a:ext>
                </a:extLst>
              </p:cNvPr>
              <p:cNvSpPr/>
              <p:nvPr/>
            </p:nvSpPr>
            <p:spPr>
              <a:xfrm>
                <a:off x="7392333" y="52488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24">
                <a:extLst>
                  <a:ext uri="{FF2B5EF4-FFF2-40B4-BE49-F238E27FC236}">
                    <a16:creationId xmlns:a16="http://schemas.microsoft.com/office/drawing/2014/main" id="{073C3CED-F213-476D-97E3-D512E6C84442}"/>
                  </a:ext>
                </a:extLst>
              </p:cNvPr>
              <p:cNvSpPr/>
              <p:nvPr/>
            </p:nvSpPr>
            <p:spPr>
              <a:xfrm>
                <a:off x="7367162" y="536947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25">
                <a:extLst>
                  <a:ext uri="{FF2B5EF4-FFF2-40B4-BE49-F238E27FC236}">
                    <a16:creationId xmlns:a16="http://schemas.microsoft.com/office/drawing/2014/main" id="{3289F69A-A5A0-4853-8F79-2A11251DE848}"/>
                  </a:ext>
                </a:extLst>
              </p:cNvPr>
              <p:cNvSpPr/>
              <p:nvPr/>
            </p:nvSpPr>
            <p:spPr>
              <a:xfrm>
                <a:off x="7341190" y="550073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26">
                <a:extLst>
                  <a:ext uri="{FF2B5EF4-FFF2-40B4-BE49-F238E27FC236}">
                    <a16:creationId xmlns:a16="http://schemas.microsoft.com/office/drawing/2014/main" id="{A51A476C-41D8-41C6-9DEE-B301FF3D55C3}"/>
                  </a:ext>
                </a:extLst>
              </p:cNvPr>
              <p:cNvSpPr/>
              <p:nvPr/>
            </p:nvSpPr>
            <p:spPr>
              <a:xfrm>
                <a:off x="7319024" y="563379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32">
                <a:extLst>
                  <a:ext uri="{FF2B5EF4-FFF2-40B4-BE49-F238E27FC236}">
                    <a16:creationId xmlns:a16="http://schemas.microsoft.com/office/drawing/2014/main" id="{04260FFC-ED11-4C6C-B855-CB152E98EA1A}"/>
                  </a:ext>
                </a:extLst>
              </p:cNvPr>
              <p:cNvSpPr/>
              <p:nvPr/>
            </p:nvSpPr>
            <p:spPr>
              <a:xfrm>
                <a:off x="7579612" y="51415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34">
                <a:extLst>
                  <a:ext uri="{FF2B5EF4-FFF2-40B4-BE49-F238E27FC236}">
                    <a16:creationId xmlns:a16="http://schemas.microsoft.com/office/drawing/2014/main" id="{889A37F9-5217-4B60-A3BD-904F9B6B3B72}"/>
                  </a:ext>
                </a:extLst>
              </p:cNvPr>
              <p:cNvSpPr/>
              <p:nvPr/>
            </p:nvSpPr>
            <p:spPr>
              <a:xfrm>
                <a:off x="7562587" y="52713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35">
                <a:extLst>
                  <a:ext uri="{FF2B5EF4-FFF2-40B4-BE49-F238E27FC236}">
                    <a16:creationId xmlns:a16="http://schemas.microsoft.com/office/drawing/2014/main" id="{2AD73226-E5FC-4222-8DF4-FD6596EFB7FC}"/>
                  </a:ext>
                </a:extLst>
              </p:cNvPr>
              <p:cNvSpPr/>
              <p:nvPr/>
            </p:nvSpPr>
            <p:spPr>
              <a:xfrm>
                <a:off x="7544894" y="53934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36">
                <a:extLst>
                  <a:ext uri="{FF2B5EF4-FFF2-40B4-BE49-F238E27FC236}">
                    <a16:creationId xmlns:a16="http://schemas.microsoft.com/office/drawing/2014/main" id="{BE60DE10-4E50-45DA-8F27-704B6B68D949}"/>
                  </a:ext>
                </a:extLst>
              </p:cNvPr>
              <p:cNvSpPr/>
              <p:nvPr/>
            </p:nvSpPr>
            <p:spPr>
              <a:xfrm>
                <a:off x="7527067" y="55258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39">
                <a:extLst>
                  <a:ext uri="{FF2B5EF4-FFF2-40B4-BE49-F238E27FC236}">
                    <a16:creationId xmlns:a16="http://schemas.microsoft.com/office/drawing/2014/main" id="{0CAE77AF-B3F4-4473-B652-F7DB09AEF1C9}"/>
                  </a:ext>
                </a:extLst>
              </p:cNvPr>
              <p:cNvSpPr/>
              <p:nvPr/>
            </p:nvSpPr>
            <p:spPr>
              <a:xfrm>
                <a:off x="7512913" y="56602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40">
                <a:extLst>
                  <a:ext uri="{FF2B5EF4-FFF2-40B4-BE49-F238E27FC236}">
                    <a16:creationId xmlns:a16="http://schemas.microsoft.com/office/drawing/2014/main" id="{1E1E5E18-E198-4663-944F-BED71DCFB8C9}"/>
                  </a:ext>
                </a:extLst>
              </p:cNvPr>
              <p:cNvSpPr/>
              <p:nvPr/>
            </p:nvSpPr>
            <p:spPr>
              <a:xfrm>
                <a:off x="7745793" y="515294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41">
                <a:extLst>
                  <a:ext uri="{FF2B5EF4-FFF2-40B4-BE49-F238E27FC236}">
                    <a16:creationId xmlns:a16="http://schemas.microsoft.com/office/drawing/2014/main" id="{B14828C8-F395-4E13-8455-903AF028298B}"/>
                  </a:ext>
                </a:extLst>
              </p:cNvPr>
              <p:cNvSpPr/>
              <p:nvPr/>
            </p:nvSpPr>
            <p:spPr>
              <a:xfrm>
                <a:off x="7736513" y="528387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42">
                <a:extLst>
                  <a:ext uri="{FF2B5EF4-FFF2-40B4-BE49-F238E27FC236}">
                    <a16:creationId xmlns:a16="http://schemas.microsoft.com/office/drawing/2014/main" id="{82985E8A-B411-4A67-8E04-27F54EA81851}"/>
                  </a:ext>
                </a:extLst>
              </p:cNvPr>
              <p:cNvSpPr/>
              <p:nvPr/>
            </p:nvSpPr>
            <p:spPr>
              <a:xfrm>
                <a:off x="7725964" y="540699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43">
                <a:extLst>
                  <a:ext uri="{FF2B5EF4-FFF2-40B4-BE49-F238E27FC236}">
                    <a16:creationId xmlns:a16="http://schemas.microsoft.com/office/drawing/2014/main" id="{C1718CD8-8456-472E-92E2-E887C69A0A22}"/>
                  </a:ext>
                </a:extLst>
              </p:cNvPr>
              <p:cNvSpPr/>
              <p:nvPr/>
            </p:nvSpPr>
            <p:spPr>
              <a:xfrm>
                <a:off x="7715949" y="554005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44">
                <a:extLst>
                  <a:ext uri="{FF2B5EF4-FFF2-40B4-BE49-F238E27FC236}">
                    <a16:creationId xmlns:a16="http://schemas.microsoft.com/office/drawing/2014/main" id="{5B629385-7068-4B88-92C6-8D4E2CCA6AB1}"/>
                  </a:ext>
                </a:extLst>
              </p:cNvPr>
              <p:cNvSpPr/>
              <p:nvPr/>
            </p:nvSpPr>
            <p:spPr>
              <a:xfrm>
                <a:off x="7709406" y="567519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45">
                <a:extLst>
                  <a:ext uri="{FF2B5EF4-FFF2-40B4-BE49-F238E27FC236}">
                    <a16:creationId xmlns:a16="http://schemas.microsoft.com/office/drawing/2014/main" id="{57F51C06-79DB-4955-9F39-0E093BA3995B}"/>
                  </a:ext>
                </a:extLst>
              </p:cNvPr>
              <p:cNvSpPr/>
              <p:nvPr/>
            </p:nvSpPr>
            <p:spPr>
              <a:xfrm>
                <a:off x="7915980" y="515495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46">
                <a:extLst>
                  <a:ext uri="{FF2B5EF4-FFF2-40B4-BE49-F238E27FC236}">
                    <a16:creationId xmlns:a16="http://schemas.microsoft.com/office/drawing/2014/main" id="{93954ABB-8CD1-4E93-84C2-8B08C685981A}"/>
                  </a:ext>
                </a:extLst>
              </p:cNvPr>
              <p:cNvSpPr/>
              <p:nvPr/>
            </p:nvSpPr>
            <p:spPr>
              <a:xfrm>
                <a:off x="7914444" y="528654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47">
                <a:extLst>
                  <a:ext uri="{FF2B5EF4-FFF2-40B4-BE49-F238E27FC236}">
                    <a16:creationId xmlns:a16="http://schemas.microsoft.com/office/drawing/2014/main" id="{C329AEE6-936F-491F-A0DD-69EF8DF9756F}"/>
                  </a:ext>
                </a:extLst>
              </p:cNvPr>
              <p:cNvSpPr/>
              <p:nvPr/>
            </p:nvSpPr>
            <p:spPr>
              <a:xfrm>
                <a:off x="7911106" y="54103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48">
                <a:extLst>
                  <a:ext uri="{FF2B5EF4-FFF2-40B4-BE49-F238E27FC236}">
                    <a16:creationId xmlns:a16="http://schemas.microsoft.com/office/drawing/2014/main" id="{5B31F78A-28AD-47B5-B826-5C48EA103006}"/>
                  </a:ext>
                </a:extLst>
              </p:cNvPr>
              <p:cNvSpPr/>
              <p:nvPr/>
            </p:nvSpPr>
            <p:spPr>
              <a:xfrm>
                <a:off x="7908836" y="5543530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49">
                <a:extLst>
                  <a:ext uri="{FF2B5EF4-FFF2-40B4-BE49-F238E27FC236}">
                    <a16:creationId xmlns:a16="http://schemas.microsoft.com/office/drawing/2014/main" id="{A8C92F24-BF72-410D-AED5-2802E68991E1}"/>
                  </a:ext>
                </a:extLst>
              </p:cNvPr>
              <p:cNvSpPr/>
              <p:nvPr/>
            </p:nvSpPr>
            <p:spPr>
              <a:xfrm>
                <a:off x="7909904" y="567899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50">
                <a:extLst>
                  <a:ext uri="{FF2B5EF4-FFF2-40B4-BE49-F238E27FC236}">
                    <a16:creationId xmlns:a16="http://schemas.microsoft.com/office/drawing/2014/main" id="{DF561C6E-584E-4686-A062-FBD3F70FA26D}"/>
                  </a:ext>
                </a:extLst>
              </p:cNvPr>
              <p:cNvSpPr/>
              <p:nvPr/>
            </p:nvSpPr>
            <p:spPr>
              <a:xfrm>
                <a:off x="8084698" y="514660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51">
                <a:extLst>
                  <a:ext uri="{FF2B5EF4-FFF2-40B4-BE49-F238E27FC236}">
                    <a16:creationId xmlns:a16="http://schemas.microsoft.com/office/drawing/2014/main" id="{26D661F3-DC29-469A-8A65-8402BDE31C1F}"/>
                  </a:ext>
                </a:extLst>
              </p:cNvPr>
              <p:cNvSpPr/>
              <p:nvPr/>
            </p:nvSpPr>
            <p:spPr>
              <a:xfrm>
                <a:off x="8091909" y="527833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52">
                <a:extLst>
                  <a:ext uri="{FF2B5EF4-FFF2-40B4-BE49-F238E27FC236}">
                    <a16:creationId xmlns:a16="http://schemas.microsoft.com/office/drawing/2014/main" id="{3DE27E50-0582-4940-A67A-234BABCFD0C0}"/>
                  </a:ext>
                </a:extLst>
              </p:cNvPr>
              <p:cNvSpPr/>
              <p:nvPr/>
            </p:nvSpPr>
            <p:spPr>
              <a:xfrm>
                <a:off x="8096583" y="54022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53">
                <a:extLst>
                  <a:ext uri="{FF2B5EF4-FFF2-40B4-BE49-F238E27FC236}">
                    <a16:creationId xmlns:a16="http://schemas.microsoft.com/office/drawing/2014/main" id="{B5B09A63-4771-4A0B-BE31-877510267B16}"/>
                  </a:ext>
                </a:extLst>
              </p:cNvPr>
              <p:cNvSpPr/>
              <p:nvPr/>
            </p:nvSpPr>
            <p:spPr>
              <a:xfrm>
                <a:off x="8102992" y="553511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54">
                <a:extLst>
                  <a:ext uri="{FF2B5EF4-FFF2-40B4-BE49-F238E27FC236}">
                    <a16:creationId xmlns:a16="http://schemas.microsoft.com/office/drawing/2014/main" id="{741E5475-E065-4991-BA42-FA6395A777EB}"/>
                  </a:ext>
                </a:extLst>
              </p:cNvPr>
              <p:cNvSpPr/>
              <p:nvPr/>
            </p:nvSpPr>
            <p:spPr>
              <a:xfrm>
                <a:off x="8112540" y="56704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55">
                <a:extLst>
                  <a:ext uri="{FF2B5EF4-FFF2-40B4-BE49-F238E27FC236}">
                    <a16:creationId xmlns:a16="http://schemas.microsoft.com/office/drawing/2014/main" id="{CE6BF16B-3788-43C7-8572-327027BC3E27}"/>
                  </a:ext>
                </a:extLst>
              </p:cNvPr>
              <p:cNvSpPr/>
              <p:nvPr/>
            </p:nvSpPr>
            <p:spPr>
              <a:xfrm>
                <a:off x="8250812" y="512771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56">
                <a:extLst>
                  <a:ext uri="{FF2B5EF4-FFF2-40B4-BE49-F238E27FC236}">
                    <a16:creationId xmlns:a16="http://schemas.microsoft.com/office/drawing/2014/main" id="{A014044E-22FF-4A77-9160-F057EDAED6C7}"/>
                  </a:ext>
                </a:extLst>
              </p:cNvPr>
              <p:cNvSpPr/>
              <p:nvPr/>
            </p:nvSpPr>
            <p:spPr>
              <a:xfrm>
                <a:off x="8266636" y="52590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57">
                <a:extLst>
                  <a:ext uri="{FF2B5EF4-FFF2-40B4-BE49-F238E27FC236}">
                    <a16:creationId xmlns:a16="http://schemas.microsoft.com/office/drawing/2014/main" id="{EE65216F-914F-4D3D-9BB6-A09885CB90FE}"/>
                  </a:ext>
                </a:extLst>
              </p:cNvPr>
              <p:cNvSpPr/>
              <p:nvPr/>
            </p:nvSpPr>
            <p:spPr>
              <a:xfrm>
                <a:off x="8279321" y="538262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58">
                <a:extLst>
                  <a:ext uri="{FF2B5EF4-FFF2-40B4-BE49-F238E27FC236}">
                    <a16:creationId xmlns:a16="http://schemas.microsoft.com/office/drawing/2014/main" id="{E0B7F031-24BB-45F6-A69B-422914DB6BC2}"/>
                  </a:ext>
                </a:extLst>
              </p:cNvPr>
              <p:cNvSpPr/>
              <p:nvPr/>
            </p:nvSpPr>
            <p:spPr>
              <a:xfrm>
                <a:off x="8294277" y="551455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59">
                <a:extLst>
                  <a:ext uri="{FF2B5EF4-FFF2-40B4-BE49-F238E27FC236}">
                    <a16:creationId xmlns:a16="http://schemas.microsoft.com/office/drawing/2014/main" id="{8DF78CD8-F401-4937-87D7-3F78AB65151B}"/>
                  </a:ext>
                </a:extLst>
              </p:cNvPr>
              <p:cNvSpPr/>
              <p:nvPr/>
            </p:nvSpPr>
            <p:spPr>
              <a:xfrm>
                <a:off x="8312371" y="564922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60">
                <a:extLst>
                  <a:ext uri="{FF2B5EF4-FFF2-40B4-BE49-F238E27FC236}">
                    <a16:creationId xmlns:a16="http://schemas.microsoft.com/office/drawing/2014/main" id="{D934494B-AF51-4C02-8985-B206D5454436}"/>
                  </a:ext>
                </a:extLst>
              </p:cNvPr>
              <p:cNvSpPr/>
              <p:nvPr/>
            </p:nvSpPr>
            <p:spPr>
              <a:xfrm>
                <a:off x="8413254" y="509853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61">
                <a:extLst>
                  <a:ext uri="{FF2B5EF4-FFF2-40B4-BE49-F238E27FC236}">
                    <a16:creationId xmlns:a16="http://schemas.microsoft.com/office/drawing/2014/main" id="{62680505-7194-465A-87A3-F344A5AF9C8E}"/>
                  </a:ext>
                </a:extLst>
              </p:cNvPr>
              <p:cNvSpPr/>
              <p:nvPr/>
            </p:nvSpPr>
            <p:spPr>
              <a:xfrm>
                <a:off x="8437758" y="522886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62">
                <a:extLst>
                  <a:ext uri="{FF2B5EF4-FFF2-40B4-BE49-F238E27FC236}">
                    <a16:creationId xmlns:a16="http://schemas.microsoft.com/office/drawing/2014/main" id="{D0A173DE-63E2-43CF-94C1-6F465B481543}"/>
                  </a:ext>
                </a:extLst>
              </p:cNvPr>
              <p:cNvSpPr/>
              <p:nvPr/>
            </p:nvSpPr>
            <p:spPr>
              <a:xfrm>
                <a:off x="8458455" y="5351577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63">
                <a:extLst>
                  <a:ext uri="{FF2B5EF4-FFF2-40B4-BE49-F238E27FC236}">
                    <a16:creationId xmlns:a16="http://schemas.microsoft.com/office/drawing/2014/main" id="{646F3A09-A0FC-45AF-B9FA-CCB4BE235F6E}"/>
                  </a:ext>
                </a:extLst>
              </p:cNvPr>
              <p:cNvSpPr/>
              <p:nvPr/>
            </p:nvSpPr>
            <p:spPr>
              <a:xfrm>
                <a:off x="8481823" y="548210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64">
                <a:extLst>
                  <a:ext uri="{FF2B5EF4-FFF2-40B4-BE49-F238E27FC236}">
                    <a16:creationId xmlns:a16="http://schemas.microsoft.com/office/drawing/2014/main" id="{9F8CF078-0E5F-42DA-B500-1D9D227F629D}"/>
                  </a:ext>
                </a:extLst>
              </p:cNvPr>
              <p:cNvSpPr/>
              <p:nvPr/>
            </p:nvSpPr>
            <p:spPr>
              <a:xfrm>
                <a:off x="8508329" y="561550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65">
                <a:extLst>
                  <a:ext uri="{FF2B5EF4-FFF2-40B4-BE49-F238E27FC236}">
                    <a16:creationId xmlns:a16="http://schemas.microsoft.com/office/drawing/2014/main" id="{5F5F42E3-5008-42CB-9EDD-2FE05B1B3853}"/>
                  </a:ext>
                </a:extLst>
              </p:cNvPr>
              <p:cNvSpPr/>
              <p:nvPr/>
            </p:nvSpPr>
            <p:spPr>
              <a:xfrm>
                <a:off x="8572091" y="505960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66">
                <a:extLst>
                  <a:ext uri="{FF2B5EF4-FFF2-40B4-BE49-F238E27FC236}">
                    <a16:creationId xmlns:a16="http://schemas.microsoft.com/office/drawing/2014/main" id="{344D1426-BA23-439F-817B-E17110C695EF}"/>
                  </a:ext>
                </a:extLst>
              </p:cNvPr>
              <p:cNvSpPr/>
              <p:nvPr/>
            </p:nvSpPr>
            <p:spPr>
              <a:xfrm>
                <a:off x="8605073" y="518840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67">
                <a:extLst>
                  <a:ext uri="{FF2B5EF4-FFF2-40B4-BE49-F238E27FC236}">
                    <a16:creationId xmlns:a16="http://schemas.microsoft.com/office/drawing/2014/main" id="{96F188F7-55BE-470B-95AE-2ADC3C945EA3}"/>
                  </a:ext>
                </a:extLst>
              </p:cNvPr>
              <p:cNvSpPr/>
              <p:nvPr/>
            </p:nvSpPr>
            <p:spPr>
              <a:xfrm>
                <a:off x="8633583" y="53097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68">
                <a:extLst>
                  <a:ext uri="{FF2B5EF4-FFF2-40B4-BE49-F238E27FC236}">
                    <a16:creationId xmlns:a16="http://schemas.microsoft.com/office/drawing/2014/main" id="{F84F09D8-055C-4539-910F-9371C5E45EBD}"/>
                  </a:ext>
                </a:extLst>
              </p:cNvPr>
              <p:cNvSpPr/>
              <p:nvPr/>
            </p:nvSpPr>
            <p:spPr>
              <a:xfrm>
                <a:off x="8665297" y="543830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69">
                <a:extLst>
                  <a:ext uri="{FF2B5EF4-FFF2-40B4-BE49-F238E27FC236}">
                    <a16:creationId xmlns:a16="http://schemas.microsoft.com/office/drawing/2014/main" id="{76EDA677-371A-4DD7-BBC4-ABD5A8258106}"/>
                  </a:ext>
                </a:extLst>
              </p:cNvPr>
              <p:cNvSpPr/>
              <p:nvPr/>
            </p:nvSpPr>
            <p:spPr>
              <a:xfrm>
                <a:off x="8700082" y="556996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70">
                <a:extLst>
                  <a:ext uri="{FF2B5EF4-FFF2-40B4-BE49-F238E27FC236}">
                    <a16:creationId xmlns:a16="http://schemas.microsoft.com/office/drawing/2014/main" id="{2689D187-0145-40A3-B57B-1FA030ECBF3E}"/>
                  </a:ext>
                </a:extLst>
              </p:cNvPr>
              <p:cNvSpPr/>
              <p:nvPr/>
            </p:nvSpPr>
            <p:spPr>
              <a:xfrm>
                <a:off x="8726855" y="501113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71">
                <a:extLst>
                  <a:ext uri="{FF2B5EF4-FFF2-40B4-BE49-F238E27FC236}">
                    <a16:creationId xmlns:a16="http://schemas.microsoft.com/office/drawing/2014/main" id="{52AFE561-3E49-46D6-B27E-70F559D85825}"/>
                  </a:ext>
                </a:extLst>
              </p:cNvPr>
              <p:cNvSpPr/>
              <p:nvPr/>
            </p:nvSpPr>
            <p:spPr>
              <a:xfrm>
                <a:off x="8768183" y="513785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72">
                <a:extLst>
                  <a:ext uri="{FF2B5EF4-FFF2-40B4-BE49-F238E27FC236}">
                    <a16:creationId xmlns:a16="http://schemas.microsoft.com/office/drawing/2014/main" id="{043086F6-683F-4E91-B0BB-D09979AC78C8}"/>
                  </a:ext>
                </a:extLst>
              </p:cNvPr>
              <p:cNvSpPr/>
              <p:nvPr/>
            </p:nvSpPr>
            <p:spPr>
              <a:xfrm>
                <a:off x="8804437" y="525730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73">
                <a:extLst>
                  <a:ext uri="{FF2B5EF4-FFF2-40B4-BE49-F238E27FC236}">
                    <a16:creationId xmlns:a16="http://schemas.microsoft.com/office/drawing/2014/main" id="{CAD2D24A-A3D6-4121-8395-07A4EA42DAEF}"/>
                  </a:ext>
                </a:extLst>
              </p:cNvPr>
              <p:cNvSpPr/>
              <p:nvPr/>
            </p:nvSpPr>
            <p:spPr>
              <a:xfrm>
                <a:off x="8844163" y="538342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74">
                <a:extLst>
                  <a:ext uri="{FF2B5EF4-FFF2-40B4-BE49-F238E27FC236}">
                    <a16:creationId xmlns:a16="http://schemas.microsoft.com/office/drawing/2014/main" id="{BC899AC0-B6F5-4A96-B97A-D6E0DC99A702}"/>
                  </a:ext>
                </a:extLst>
              </p:cNvPr>
              <p:cNvSpPr/>
              <p:nvPr/>
            </p:nvSpPr>
            <p:spPr>
              <a:xfrm>
                <a:off x="8887094" y="5512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75">
                <a:extLst>
                  <a:ext uri="{FF2B5EF4-FFF2-40B4-BE49-F238E27FC236}">
                    <a16:creationId xmlns:a16="http://schemas.microsoft.com/office/drawing/2014/main" id="{5C9C2732-FE7B-42CC-85B4-E381B9439A6F}"/>
                  </a:ext>
                </a:extLst>
              </p:cNvPr>
              <p:cNvSpPr/>
              <p:nvPr/>
            </p:nvSpPr>
            <p:spPr>
              <a:xfrm>
                <a:off x="8877212" y="495345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76">
                <a:extLst>
                  <a:ext uri="{FF2B5EF4-FFF2-40B4-BE49-F238E27FC236}">
                    <a16:creationId xmlns:a16="http://schemas.microsoft.com/office/drawing/2014/main" id="{BA127E4C-61A2-4B10-896F-51F1E784D96C}"/>
                  </a:ext>
                </a:extLst>
              </p:cNvPr>
              <p:cNvSpPr/>
              <p:nvPr/>
            </p:nvSpPr>
            <p:spPr>
              <a:xfrm>
                <a:off x="8926753" y="507763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77">
                <a:extLst>
                  <a:ext uri="{FF2B5EF4-FFF2-40B4-BE49-F238E27FC236}">
                    <a16:creationId xmlns:a16="http://schemas.microsoft.com/office/drawing/2014/main" id="{80916F8D-06A1-4CD4-8926-14B0B87DF3F6}"/>
                  </a:ext>
                </a:extLst>
              </p:cNvPr>
              <p:cNvSpPr/>
              <p:nvPr/>
            </p:nvSpPr>
            <p:spPr>
              <a:xfrm>
                <a:off x="8970551" y="519474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78">
                <a:extLst>
                  <a:ext uri="{FF2B5EF4-FFF2-40B4-BE49-F238E27FC236}">
                    <a16:creationId xmlns:a16="http://schemas.microsoft.com/office/drawing/2014/main" id="{35315889-B130-4EF3-9013-63470BA77001}"/>
                  </a:ext>
                </a:extLst>
              </p:cNvPr>
              <p:cNvSpPr/>
              <p:nvPr/>
            </p:nvSpPr>
            <p:spPr>
              <a:xfrm>
                <a:off x="9018156" y="531786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79">
                <a:extLst>
                  <a:ext uri="{FF2B5EF4-FFF2-40B4-BE49-F238E27FC236}">
                    <a16:creationId xmlns:a16="http://schemas.microsoft.com/office/drawing/2014/main" id="{68BCFAFA-2CB0-4DAF-A911-4B242805D157}"/>
                  </a:ext>
                </a:extLst>
              </p:cNvPr>
              <p:cNvSpPr/>
              <p:nvPr/>
            </p:nvSpPr>
            <p:spPr>
              <a:xfrm>
                <a:off x="9068965" y="544458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80">
                <a:extLst>
                  <a:ext uri="{FF2B5EF4-FFF2-40B4-BE49-F238E27FC236}">
                    <a16:creationId xmlns:a16="http://schemas.microsoft.com/office/drawing/2014/main" id="{02E32190-1CEB-4801-A5A9-3CD8975F3B80}"/>
                  </a:ext>
                </a:extLst>
              </p:cNvPr>
              <p:cNvSpPr/>
              <p:nvPr/>
            </p:nvSpPr>
            <p:spPr>
              <a:xfrm>
                <a:off x="9022963" y="4886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81">
                <a:extLst>
                  <a:ext uri="{FF2B5EF4-FFF2-40B4-BE49-F238E27FC236}">
                    <a16:creationId xmlns:a16="http://schemas.microsoft.com/office/drawing/2014/main" id="{400412DB-A8BF-4E68-B207-265352501BB2}"/>
                  </a:ext>
                </a:extLst>
              </p:cNvPr>
              <p:cNvSpPr/>
              <p:nvPr/>
            </p:nvSpPr>
            <p:spPr>
              <a:xfrm>
                <a:off x="9080448" y="50079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82">
                <a:extLst>
                  <a:ext uri="{FF2B5EF4-FFF2-40B4-BE49-F238E27FC236}">
                    <a16:creationId xmlns:a16="http://schemas.microsoft.com/office/drawing/2014/main" id="{0BDF2B9A-6584-43A7-AC9F-01F83EDC6CFF}"/>
                  </a:ext>
                </a:extLst>
              </p:cNvPr>
              <p:cNvSpPr/>
              <p:nvPr/>
            </p:nvSpPr>
            <p:spPr>
              <a:xfrm>
                <a:off x="9131591" y="512230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83">
                <a:extLst>
                  <a:ext uri="{FF2B5EF4-FFF2-40B4-BE49-F238E27FC236}">
                    <a16:creationId xmlns:a16="http://schemas.microsoft.com/office/drawing/2014/main" id="{F0E30A03-0718-4CE1-8AEF-6C3A55E04467}"/>
                  </a:ext>
                </a:extLst>
              </p:cNvPr>
              <p:cNvSpPr/>
              <p:nvPr/>
            </p:nvSpPr>
            <p:spPr>
              <a:xfrm>
                <a:off x="9186740" y="524201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84">
                <a:extLst>
                  <a:ext uri="{FF2B5EF4-FFF2-40B4-BE49-F238E27FC236}">
                    <a16:creationId xmlns:a16="http://schemas.microsoft.com/office/drawing/2014/main" id="{7EBBCAE6-5348-4EF1-A305-F6731AB44495}"/>
                  </a:ext>
                </a:extLst>
              </p:cNvPr>
              <p:cNvSpPr/>
              <p:nvPr/>
            </p:nvSpPr>
            <p:spPr>
              <a:xfrm>
                <a:off x="9245227" y="53655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85">
                <a:extLst>
                  <a:ext uri="{FF2B5EF4-FFF2-40B4-BE49-F238E27FC236}">
                    <a16:creationId xmlns:a16="http://schemas.microsoft.com/office/drawing/2014/main" id="{E27AD259-AA46-4A37-966C-F0F15D9E0D3E}"/>
                  </a:ext>
                </a:extLst>
              </p:cNvPr>
              <p:cNvSpPr/>
              <p:nvPr/>
            </p:nvSpPr>
            <p:spPr>
              <a:xfrm>
                <a:off x="9163706" y="481183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86">
                <a:extLst>
                  <a:ext uri="{FF2B5EF4-FFF2-40B4-BE49-F238E27FC236}">
                    <a16:creationId xmlns:a16="http://schemas.microsoft.com/office/drawing/2014/main" id="{FAA2AAEF-262B-4BD9-8B0B-BEFB40B4A41C}"/>
                  </a:ext>
                </a:extLst>
              </p:cNvPr>
              <p:cNvSpPr/>
              <p:nvPr/>
            </p:nvSpPr>
            <p:spPr>
              <a:xfrm>
                <a:off x="9228936" y="492928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87">
                <a:extLst>
                  <a:ext uri="{FF2B5EF4-FFF2-40B4-BE49-F238E27FC236}">
                    <a16:creationId xmlns:a16="http://schemas.microsoft.com/office/drawing/2014/main" id="{9FCDBD0A-4613-48BC-ADF9-45D3ABF77E9D}"/>
                  </a:ext>
                </a:extLst>
              </p:cNvPr>
              <p:cNvSpPr/>
              <p:nvPr/>
            </p:nvSpPr>
            <p:spPr>
              <a:xfrm>
                <a:off x="9287223" y="504038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88">
                <a:extLst>
                  <a:ext uri="{FF2B5EF4-FFF2-40B4-BE49-F238E27FC236}">
                    <a16:creationId xmlns:a16="http://schemas.microsoft.com/office/drawing/2014/main" id="{34F64E52-1B86-4DCD-BC08-12F5742548DC}"/>
                  </a:ext>
                </a:extLst>
              </p:cNvPr>
              <p:cNvSpPr/>
              <p:nvPr/>
            </p:nvSpPr>
            <p:spPr>
              <a:xfrm>
                <a:off x="9349583" y="515628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89">
                <a:extLst>
                  <a:ext uri="{FF2B5EF4-FFF2-40B4-BE49-F238E27FC236}">
                    <a16:creationId xmlns:a16="http://schemas.microsoft.com/office/drawing/2014/main" id="{24013725-ECAC-4C42-A7EC-ABE5EBAD59A3}"/>
                  </a:ext>
                </a:extLst>
              </p:cNvPr>
              <p:cNvSpPr/>
              <p:nvPr/>
            </p:nvSpPr>
            <p:spPr>
              <a:xfrm>
                <a:off x="9415548" y="527626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90">
                <a:extLst>
                  <a:ext uri="{FF2B5EF4-FFF2-40B4-BE49-F238E27FC236}">
                    <a16:creationId xmlns:a16="http://schemas.microsoft.com/office/drawing/2014/main" id="{AC7C8315-54DF-4DD1-9C58-850463FCCC52}"/>
                  </a:ext>
                </a:extLst>
              </p:cNvPr>
              <p:cNvSpPr/>
              <p:nvPr/>
            </p:nvSpPr>
            <p:spPr>
              <a:xfrm>
                <a:off x="9299108" y="47285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91">
                <a:extLst>
                  <a:ext uri="{FF2B5EF4-FFF2-40B4-BE49-F238E27FC236}">
                    <a16:creationId xmlns:a16="http://schemas.microsoft.com/office/drawing/2014/main" id="{171D07ED-4B8D-4E6E-A34D-BD192C68D5B5}"/>
                  </a:ext>
                </a:extLst>
              </p:cNvPr>
              <p:cNvSpPr/>
              <p:nvPr/>
            </p:nvSpPr>
            <p:spPr>
              <a:xfrm>
                <a:off x="9371816" y="484195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92">
                <a:extLst>
                  <a:ext uri="{FF2B5EF4-FFF2-40B4-BE49-F238E27FC236}">
                    <a16:creationId xmlns:a16="http://schemas.microsoft.com/office/drawing/2014/main" id="{A69FFBAB-92D5-4BF3-ACFF-7845C34F1E93}"/>
                  </a:ext>
                </a:extLst>
              </p:cNvPr>
              <p:cNvSpPr/>
              <p:nvPr/>
            </p:nvSpPr>
            <p:spPr>
              <a:xfrm>
                <a:off x="9436980" y="494944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93">
                <a:extLst>
                  <a:ext uri="{FF2B5EF4-FFF2-40B4-BE49-F238E27FC236}">
                    <a16:creationId xmlns:a16="http://schemas.microsoft.com/office/drawing/2014/main" id="{2E14BAA7-8F9D-4FD3-A374-8F9940B6D575}"/>
                  </a:ext>
                </a:extLst>
              </p:cNvPr>
              <p:cNvSpPr/>
              <p:nvPr/>
            </p:nvSpPr>
            <p:spPr>
              <a:xfrm>
                <a:off x="9506350" y="506101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94">
                <a:extLst>
                  <a:ext uri="{FF2B5EF4-FFF2-40B4-BE49-F238E27FC236}">
                    <a16:creationId xmlns:a16="http://schemas.microsoft.com/office/drawing/2014/main" id="{86775B14-2677-48AD-8570-8DBD507195EE}"/>
                  </a:ext>
                </a:extLst>
              </p:cNvPr>
              <p:cNvSpPr/>
              <p:nvPr/>
            </p:nvSpPr>
            <p:spPr>
              <a:xfrm>
                <a:off x="9579525" y="517698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95">
                <a:extLst>
                  <a:ext uri="{FF2B5EF4-FFF2-40B4-BE49-F238E27FC236}">
                    <a16:creationId xmlns:a16="http://schemas.microsoft.com/office/drawing/2014/main" id="{55A9D207-1762-402D-A943-E25A08A0D92B}"/>
                  </a:ext>
                </a:extLst>
              </p:cNvPr>
              <p:cNvSpPr/>
              <p:nvPr/>
            </p:nvSpPr>
            <p:spPr>
              <a:xfrm>
                <a:off x="9428834" y="463731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96">
                <a:extLst>
                  <a:ext uri="{FF2B5EF4-FFF2-40B4-BE49-F238E27FC236}">
                    <a16:creationId xmlns:a16="http://schemas.microsoft.com/office/drawing/2014/main" id="{E7910EBB-1615-40BF-B3B8-760C71B267F8}"/>
                  </a:ext>
                </a:extLst>
              </p:cNvPr>
              <p:cNvSpPr/>
              <p:nvPr/>
            </p:nvSpPr>
            <p:spPr>
              <a:xfrm>
                <a:off x="9508687" y="474620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97">
                <a:extLst>
                  <a:ext uri="{FF2B5EF4-FFF2-40B4-BE49-F238E27FC236}">
                    <a16:creationId xmlns:a16="http://schemas.microsoft.com/office/drawing/2014/main" id="{ADBA246F-BAC9-4CED-8482-1A0FC4FB2458}"/>
                  </a:ext>
                </a:extLst>
              </p:cNvPr>
              <p:cNvSpPr/>
              <p:nvPr/>
            </p:nvSpPr>
            <p:spPr>
              <a:xfrm>
                <a:off x="9580460" y="484962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98">
                <a:extLst>
                  <a:ext uri="{FF2B5EF4-FFF2-40B4-BE49-F238E27FC236}">
                    <a16:creationId xmlns:a16="http://schemas.microsoft.com/office/drawing/2014/main" id="{1041F5D3-4206-4CED-8743-8B8777220C87}"/>
                  </a:ext>
                </a:extLst>
              </p:cNvPr>
              <p:cNvSpPr/>
              <p:nvPr/>
            </p:nvSpPr>
            <p:spPr>
              <a:xfrm>
                <a:off x="9656507" y="49565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99">
                <a:extLst>
                  <a:ext uri="{FF2B5EF4-FFF2-40B4-BE49-F238E27FC236}">
                    <a16:creationId xmlns:a16="http://schemas.microsoft.com/office/drawing/2014/main" id="{93E1F1D7-F5DA-4ADC-A094-BECA90CE6CC8}"/>
                  </a:ext>
                </a:extLst>
              </p:cNvPr>
              <p:cNvSpPr/>
              <p:nvPr/>
            </p:nvSpPr>
            <p:spPr>
              <a:xfrm>
                <a:off x="9736559" y="50680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00">
                <a:extLst>
                  <a:ext uri="{FF2B5EF4-FFF2-40B4-BE49-F238E27FC236}">
                    <a16:creationId xmlns:a16="http://schemas.microsoft.com/office/drawing/2014/main" id="{DF42E79B-800F-4D6E-A2DF-1BA4A15CFADB}"/>
                  </a:ext>
                </a:extLst>
              </p:cNvPr>
              <p:cNvSpPr/>
              <p:nvPr/>
            </p:nvSpPr>
            <p:spPr>
              <a:xfrm>
                <a:off x="9552619" y="453856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01">
                <a:extLst>
                  <a:ext uri="{FF2B5EF4-FFF2-40B4-BE49-F238E27FC236}">
                    <a16:creationId xmlns:a16="http://schemas.microsoft.com/office/drawing/2014/main" id="{099EAC11-A32C-4624-A1C9-8B48E98BC631}"/>
                  </a:ext>
                </a:extLst>
              </p:cNvPr>
              <p:cNvSpPr/>
              <p:nvPr/>
            </p:nvSpPr>
            <p:spPr>
              <a:xfrm>
                <a:off x="9639415" y="4642587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02">
                <a:extLst>
                  <a:ext uri="{FF2B5EF4-FFF2-40B4-BE49-F238E27FC236}">
                    <a16:creationId xmlns:a16="http://schemas.microsoft.com/office/drawing/2014/main" id="{DC1F877E-B03A-429F-8B60-1E8261B2D2E3}"/>
                  </a:ext>
                </a:extLst>
              </p:cNvPr>
              <p:cNvSpPr/>
              <p:nvPr/>
            </p:nvSpPr>
            <p:spPr>
              <a:xfrm>
                <a:off x="9717531" y="474153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03">
                <a:extLst>
                  <a:ext uri="{FF2B5EF4-FFF2-40B4-BE49-F238E27FC236}">
                    <a16:creationId xmlns:a16="http://schemas.microsoft.com/office/drawing/2014/main" id="{DC919E93-5A10-49E1-87EC-1D99F74BCE6D}"/>
                  </a:ext>
                </a:extLst>
              </p:cNvPr>
              <p:cNvSpPr/>
              <p:nvPr/>
            </p:nvSpPr>
            <p:spPr>
              <a:xfrm>
                <a:off x="9799854" y="48434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04">
                <a:extLst>
                  <a:ext uri="{FF2B5EF4-FFF2-40B4-BE49-F238E27FC236}">
                    <a16:creationId xmlns:a16="http://schemas.microsoft.com/office/drawing/2014/main" id="{BA942141-E5AB-415E-AF8B-6841E3EFF83E}"/>
                  </a:ext>
                </a:extLst>
              </p:cNvPr>
              <p:cNvSpPr/>
              <p:nvPr/>
            </p:nvSpPr>
            <p:spPr>
              <a:xfrm>
                <a:off x="9886516" y="495011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05">
                <a:extLst>
                  <a:ext uri="{FF2B5EF4-FFF2-40B4-BE49-F238E27FC236}">
                    <a16:creationId xmlns:a16="http://schemas.microsoft.com/office/drawing/2014/main" id="{0C944BEE-178C-485D-84CC-DC4EECFB2115}"/>
                  </a:ext>
                </a:extLst>
              </p:cNvPr>
              <p:cNvSpPr/>
              <p:nvPr/>
            </p:nvSpPr>
            <p:spPr>
              <a:xfrm>
                <a:off x="9670461" y="443234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06">
                <a:extLst>
                  <a:ext uri="{FF2B5EF4-FFF2-40B4-BE49-F238E27FC236}">
                    <a16:creationId xmlns:a16="http://schemas.microsoft.com/office/drawing/2014/main" id="{873B76F9-CA7C-43ED-908F-83923E4E23FC}"/>
                  </a:ext>
                </a:extLst>
              </p:cNvPr>
              <p:cNvSpPr/>
              <p:nvPr/>
            </p:nvSpPr>
            <p:spPr>
              <a:xfrm>
                <a:off x="9763800" y="453095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07">
                <a:extLst>
                  <a:ext uri="{FF2B5EF4-FFF2-40B4-BE49-F238E27FC236}">
                    <a16:creationId xmlns:a16="http://schemas.microsoft.com/office/drawing/2014/main" id="{FD178775-30AB-41B5-8130-B9D536BEA721}"/>
                  </a:ext>
                </a:extLst>
              </p:cNvPr>
              <p:cNvSpPr/>
              <p:nvPr/>
            </p:nvSpPr>
            <p:spPr>
              <a:xfrm>
                <a:off x="9847992" y="462509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08">
                <a:extLst>
                  <a:ext uri="{FF2B5EF4-FFF2-40B4-BE49-F238E27FC236}">
                    <a16:creationId xmlns:a16="http://schemas.microsoft.com/office/drawing/2014/main" id="{033427AA-88DB-4143-892E-6474B5622B1B}"/>
                  </a:ext>
                </a:extLst>
              </p:cNvPr>
              <p:cNvSpPr/>
              <p:nvPr/>
            </p:nvSpPr>
            <p:spPr>
              <a:xfrm>
                <a:off x="9936324" y="47215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09">
                <a:extLst>
                  <a:ext uri="{FF2B5EF4-FFF2-40B4-BE49-F238E27FC236}">
                    <a16:creationId xmlns:a16="http://schemas.microsoft.com/office/drawing/2014/main" id="{68A53867-8F64-4A04-B799-726D7A913754}"/>
                  </a:ext>
                </a:extLst>
              </p:cNvPr>
              <p:cNvSpPr/>
              <p:nvPr/>
            </p:nvSpPr>
            <p:spPr>
              <a:xfrm>
                <a:off x="10029329" y="482298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10">
                <a:extLst>
                  <a:ext uri="{FF2B5EF4-FFF2-40B4-BE49-F238E27FC236}">
                    <a16:creationId xmlns:a16="http://schemas.microsoft.com/office/drawing/2014/main" id="{C0E41CFD-9432-4019-B8D6-7BBBA50D3A4D}"/>
                  </a:ext>
                </a:extLst>
              </p:cNvPr>
              <p:cNvSpPr/>
              <p:nvPr/>
            </p:nvSpPr>
            <p:spPr>
              <a:xfrm>
                <a:off x="9781693" y="431903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11">
                <a:extLst>
                  <a:ext uri="{FF2B5EF4-FFF2-40B4-BE49-F238E27FC236}">
                    <a16:creationId xmlns:a16="http://schemas.microsoft.com/office/drawing/2014/main" id="{30BBE769-C131-459A-AFB6-B7C0D9E22F0E}"/>
                  </a:ext>
                </a:extLst>
              </p:cNvPr>
              <p:cNvSpPr/>
              <p:nvPr/>
            </p:nvSpPr>
            <p:spPr>
              <a:xfrm>
                <a:off x="9881308" y="441191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12">
                <a:extLst>
                  <a:ext uri="{FF2B5EF4-FFF2-40B4-BE49-F238E27FC236}">
                    <a16:creationId xmlns:a16="http://schemas.microsoft.com/office/drawing/2014/main" id="{D27D49E0-2FE8-45DA-9C64-95EFE147275E}"/>
                  </a:ext>
                </a:extLst>
              </p:cNvPr>
              <p:cNvSpPr/>
              <p:nvPr/>
            </p:nvSpPr>
            <p:spPr>
              <a:xfrm>
                <a:off x="9971242" y="450077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13">
                <a:extLst>
                  <a:ext uri="{FF2B5EF4-FFF2-40B4-BE49-F238E27FC236}">
                    <a16:creationId xmlns:a16="http://schemas.microsoft.com/office/drawing/2014/main" id="{FBCC0132-9AE0-4137-A096-5181856E661B}"/>
                  </a:ext>
                </a:extLst>
              </p:cNvPr>
              <p:cNvSpPr/>
              <p:nvPr/>
            </p:nvSpPr>
            <p:spPr>
              <a:xfrm>
                <a:off x="10065182" y="459151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14">
                <a:extLst>
                  <a:ext uri="{FF2B5EF4-FFF2-40B4-BE49-F238E27FC236}">
                    <a16:creationId xmlns:a16="http://schemas.microsoft.com/office/drawing/2014/main" id="{025FAB9E-EB75-4B5F-8FAE-4C1FD2D8A637}"/>
                  </a:ext>
                </a:extLst>
              </p:cNvPr>
              <p:cNvSpPr/>
              <p:nvPr/>
            </p:nvSpPr>
            <p:spPr>
              <a:xfrm>
                <a:off x="10164263" y="46873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15">
                <a:extLst>
                  <a:ext uri="{FF2B5EF4-FFF2-40B4-BE49-F238E27FC236}">
                    <a16:creationId xmlns:a16="http://schemas.microsoft.com/office/drawing/2014/main" id="{40C6FBE3-504E-4244-885B-EAA0C632DC40}"/>
                  </a:ext>
                </a:extLst>
              </p:cNvPr>
              <p:cNvSpPr/>
              <p:nvPr/>
            </p:nvSpPr>
            <p:spPr>
              <a:xfrm>
                <a:off x="9885915" y="419912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16">
                <a:extLst>
                  <a:ext uri="{FF2B5EF4-FFF2-40B4-BE49-F238E27FC236}">
                    <a16:creationId xmlns:a16="http://schemas.microsoft.com/office/drawing/2014/main" id="{F9F4B551-E2E9-4152-8EEF-4C10056BD96C}"/>
                  </a:ext>
                </a:extLst>
              </p:cNvPr>
              <p:cNvSpPr/>
              <p:nvPr/>
            </p:nvSpPr>
            <p:spPr>
              <a:xfrm>
                <a:off x="9991406" y="42858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17">
                <a:extLst>
                  <a:ext uri="{FF2B5EF4-FFF2-40B4-BE49-F238E27FC236}">
                    <a16:creationId xmlns:a16="http://schemas.microsoft.com/office/drawing/2014/main" id="{042DE321-2F19-4B87-9E94-E9ACD3EE8A0B}"/>
                  </a:ext>
                </a:extLst>
              </p:cNvPr>
              <p:cNvSpPr/>
              <p:nvPr/>
            </p:nvSpPr>
            <p:spPr>
              <a:xfrm>
                <a:off x="10086815" y="436918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18">
                <a:extLst>
                  <a:ext uri="{FF2B5EF4-FFF2-40B4-BE49-F238E27FC236}">
                    <a16:creationId xmlns:a16="http://schemas.microsoft.com/office/drawing/2014/main" id="{5E4623D4-E226-430A-BD81-7565FD82CDB5}"/>
                  </a:ext>
                </a:extLst>
              </p:cNvPr>
              <p:cNvSpPr/>
              <p:nvPr/>
            </p:nvSpPr>
            <p:spPr>
              <a:xfrm>
                <a:off x="10186029" y="44537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19">
                <a:extLst>
                  <a:ext uri="{FF2B5EF4-FFF2-40B4-BE49-F238E27FC236}">
                    <a16:creationId xmlns:a16="http://schemas.microsoft.com/office/drawing/2014/main" id="{E0C83E20-6843-4D53-BDB8-989DC9160B34}"/>
                  </a:ext>
                </a:extLst>
              </p:cNvPr>
              <p:cNvSpPr/>
              <p:nvPr/>
            </p:nvSpPr>
            <p:spPr>
              <a:xfrm>
                <a:off x="10290718" y="454364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20">
                <a:extLst>
                  <a:ext uri="{FF2B5EF4-FFF2-40B4-BE49-F238E27FC236}">
                    <a16:creationId xmlns:a16="http://schemas.microsoft.com/office/drawing/2014/main" id="{C80D151C-9090-4CCD-9F73-A4245B7CA9E6}"/>
                  </a:ext>
                </a:extLst>
              </p:cNvPr>
              <p:cNvSpPr/>
              <p:nvPr/>
            </p:nvSpPr>
            <p:spPr>
              <a:xfrm>
                <a:off x="9982726" y="40730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21">
                <a:extLst>
                  <a:ext uri="{FF2B5EF4-FFF2-40B4-BE49-F238E27FC236}">
                    <a16:creationId xmlns:a16="http://schemas.microsoft.com/office/drawing/2014/main" id="{164960AC-8C97-4DBA-B2FE-4F75869CCC08}"/>
                  </a:ext>
                </a:extLst>
              </p:cNvPr>
              <p:cNvSpPr/>
              <p:nvPr/>
            </p:nvSpPr>
            <p:spPr>
              <a:xfrm>
                <a:off x="10093692" y="415319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22">
                <a:extLst>
                  <a:ext uri="{FF2B5EF4-FFF2-40B4-BE49-F238E27FC236}">
                    <a16:creationId xmlns:a16="http://schemas.microsoft.com/office/drawing/2014/main" id="{0B8908D9-3146-4CE5-BC99-C776C3C03CCA}"/>
                  </a:ext>
                </a:extLst>
              </p:cNvPr>
              <p:cNvSpPr/>
              <p:nvPr/>
            </p:nvSpPr>
            <p:spPr>
              <a:xfrm>
                <a:off x="10194241" y="423057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5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23">
                <a:extLst>
                  <a:ext uri="{FF2B5EF4-FFF2-40B4-BE49-F238E27FC236}">
                    <a16:creationId xmlns:a16="http://schemas.microsoft.com/office/drawing/2014/main" id="{7199F856-6AD8-45A3-AB7C-26733561F98F}"/>
                  </a:ext>
                </a:extLst>
              </p:cNvPr>
              <p:cNvSpPr/>
              <p:nvPr/>
            </p:nvSpPr>
            <p:spPr>
              <a:xfrm>
                <a:off x="10298330" y="43087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24">
                <a:extLst>
                  <a:ext uri="{FF2B5EF4-FFF2-40B4-BE49-F238E27FC236}">
                    <a16:creationId xmlns:a16="http://schemas.microsoft.com/office/drawing/2014/main" id="{E1477B60-191D-4BDD-BA8B-BD0E5988F5E2}"/>
                  </a:ext>
                </a:extLst>
              </p:cNvPr>
              <p:cNvSpPr/>
              <p:nvPr/>
            </p:nvSpPr>
            <p:spPr>
              <a:xfrm>
                <a:off x="10408360" y="439228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25">
                <a:extLst>
                  <a:ext uri="{FF2B5EF4-FFF2-40B4-BE49-F238E27FC236}">
                    <a16:creationId xmlns:a16="http://schemas.microsoft.com/office/drawing/2014/main" id="{121FCCC9-F047-45F9-A198-C5EDAB2C1433}"/>
                  </a:ext>
                </a:extLst>
              </p:cNvPr>
              <p:cNvSpPr/>
              <p:nvPr/>
            </p:nvSpPr>
            <p:spPr>
              <a:xfrm>
                <a:off x="10071725" y="394100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26">
                <a:extLst>
                  <a:ext uri="{FF2B5EF4-FFF2-40B4-BE49-F238E27FC236}">
                    <a16:creationId xmlns:a16="http://schemas.microsoft.com/office/drawing/2014/main" id="{DDE90CC5-4F24-409E-A3F7-7D10ADC6EB62}"/>
                  </a:ext>
                </a:extLst>
              </p:cNvPr>
              <p:cNvSpPr/>
              <p:nvPr/>
            </p:nvSpPr>
            <p:spPr>
              <a:xfrm>
                <a:off x="10187832" y="401418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27">
                <a:extLst>
                  <a:ext uri="{FF2B5EF4-FFF2-40B4-BE49-F238E27FC236}">
                    <a16:creationId xmlns:a16="http://schemas.microsoft.com/office/drawing/2014/main" id="{82BD9D14-55DC-451D-B4BA-17EC90FE0DAF}"/>
                  </a:ext>
                </a:extLst>
              </p:cNvPr>
              <p:cNvSpPr/>
              <p:nvPr/>
            </p:nvSpPr>
            <p:spPr>
              <a:xfrm>
                <a:off x="10293122" y="408529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28">
                <a:extLst>
                  <a:ext uri="{FF2B5EF4-FFF2-40B4-BE49-F238E27FC236}">
                    <a16:creationId xmlns:a16="http://schemas.microsoft.com/office/drawing/2014/main" id="{92CFDF67-7F3A-4215-8F6B-810197BD2A35}"/>
                  </a:ext>
                </a:extLst>
              </p:cNvPr>
              <p:cNvSpPr/>
              <p:nvPr/>
            </p:nvSpPr>
            <p:spPr>
              <a:xfrm>
                <a:off x="10401751" y="41567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29">
                <a:extLst>
                  <a:ext uri="{FF2B5EF4-FFF2-40B4-BE49-F238E27FC236}">
                    <a16:creationId xmlns:a16="http://schemas.microsoft.com/office/drawing/2014/main" id="{C7C0C3EB-6062-4253-83D2-DFA7FE0EE363}"/>
                  </a:ext>
                </a:extLst>
              </p:cNvPr>
              <p:cNvSpPr/>
              <p:nvPr/>
            </p:nvSpPr>
            <p:spPr>
              <a:xfrm>
                <a:off x="10516722" y="42336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30">
                <a:extLst>
                  <a:ext uri="{FF2B5EF4-FFF2-40B4-BE49-F238E27FC236}">
                    <a16:creationId xmlns:a16="http://schemas.microsoft.com/office/drawing/2014/main" id="{C293D7D6-061B-4C3C-A5DC-BF8CEDEC69F4}"/>
                  </a:ext>
                </a:extLst>
              </p:cNvPr>
              <p:cNvSpPr/>
              <p:nvPr/>
            </p:nvSpPr>
            <p:spPr>
              <a:xfrm>
                <a:off x="10152713" y="38035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31">
                <a:extLst>
                  <a:ext uri="{FF2B5EF4-FFF2-40B4-BE49-F238E27FC236}">
                    <a16:creationId xmlns:a16="http://schemas.microsoft.com/office/drawing/2014/main" id="{DB0E68E5-4375-4390-A668-D57CEEFDB656}"/>
                  </a:ext>
                </a:extLst>
              </p:cNvPr>
              <p:cNvSpPr/>
              <p:nvPr/>
            </p:nvSpPr>
            <p:spPr>
              <a:xfrm>
                <a:off x="10273560" y="386936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32">
                <a:extLst>
                  <a:ext uri="{FF2B5EF4-FFF2-40B4-BE49-F238E27FC236}">
                    <a16:creationId xmlns:a16="http://schemas.microsoft.com/office/drawing/2014/main" id="{89774EC4-358F-4C30-89E3-1FDD872E4A7B}"/>
                  </a:ext>
                </a:extLst>
              </p:cNvPr>
              <p:cNvSpPr/>
              <p:nvPr/>
            </p:nvSpPr>
            <p:spPr>
              <a:xfrm>
                <a:off x="10383256" y="393386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33">
                <a:extLst>
                  <a:ext uri="{FF2B5EF4-FFF2-40B4-BE49-F238E27FC236}">
                    <a16:creationId xmlns:a16="http://schemas.microsoft.com/office/drawing/2014/main" id="{A234D4DF-6704-4414-9962-64234BB57BAE}"/>
                  </a:ext>
                </a:extLst>
              </p:cNvPr>
              <p:cNvSpPr/>
              <p:nvPr/>
            </p:nvSpPr>
            <p:spPr>
              <a:xfrm>
                <a:off x="10495958" y="39983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FC5754CD-9A8B-4AA7-AB6D-D4AEA554540E}"/>
                  </a:ext>
                </a:extLst>
              </p:cNvPr>
              <p:cNvSpPr/>
              <p:nvPr/>
            </p:nvSpPr>
            <p:spPr>
              <a:xfrm>
                <a:off x="10615536" y="406819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4E72D948-8EED-43B3-A210-C7D0A5750FDC}"/>
                  </a:ext>
                </a:extLst>
              </p:cNvPr>
              <p:cNvSpPr/>
              <p:nvPr/>
            </p:nvSpPr>
            <p:spPr>
              <a:xfrm>
                <a:off x="10225354" y="366079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3654981B-31D8-4F0B-9D8A-A8EA41773E3D}"/>
                  </a:ext>
                </a:extLst>
              </p:cNvPr>
              <p:cNvSpPr/>
              <p:nvPr/>
            </p:nvSpPr>
            <p:spPr>
              <a:xfrm>
                <a:off x="10350407" y="371901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C37BA150-FB80-4FA3-B0EB-DDFAB70F1D8A}"/>
                  </a:ext>
                </a:extLst>
              </p:cNvPr>
              <p:cNvSpPr/>
              <p:nvPr/>
            </p:nvSpPr>
            <p:spPr>
              <a:xfrm>
                <a:off x="10464177" y="377663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88906697-D679-4A7E-B001-BFD60FB8FF38}"/>
                  </a:ext>
                </a:extLst>
              </p:cNvPr>
              <p:cNvSpPr/>
              <p:nvPr/>
            </p:nvSpPr>
            <p:spPr>
              <a:xfrm>
                <a:off x="10580484" y="383378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18F601DE-088C-423C-B40E-C7F0EA59B488}"/>
                  </a:ext>
                </a:extLst>
              </p:cNvPr>
              <p:cNvSpPr/>
              <p:nvPr/>
            </p:nvSpPr>
            <p:spPr>
              <a:xfrm>
                <a:off x="10704268" y="389634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F9A91371-F509-475F-B70B-0BA1FCD08FF8}"/>
                  </a:ext>
                </a:extLst>
              </p:cNvPr>
              <p:cNvSpPr/>
              <p:nvPr/>
            </p:nvSpPr>
            <p:spPr>
              <a:xfrm>
                <a:off x="10289250" y="351323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AE14521A-3128-49AD-A9E9-B4149E9C0238}"/>
                  </a:ext>
                </a:extLst>
              </p:cNvPr>
              <p:cNvSpPr/>
              <p:nvPr/>
            </p:nvSpPr>
            <p:spPr>
              <a:xfrm>
                <a:off x="10418108" y="3563446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3D131D00-8477-4000-8F2F-9C063CDC182F}"/>
                  </a:ext>
                </a:extLst>
              </p:cNvPr>
              <p:cNvSpPr/>
              <p:nvPr/>
            </p:nvSpPr>
            <p:spPr>
              <a:xfrm>
                <a:off x="10535483" y="361385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246AC113-45C1-45DC-8745-F0C5F491F02A}"/>
                  </a:ext>
                </a:extLst>
              </p:cNvPr>
              <p:cNvSpPr/>
              <p:nvPr/>
            </p:nvSpPr>
            <p:spPr>
              <a:xfrm>
                <a:off x="10654995" y="366346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2" name="Freeform: Shape 144">
                <a:extLst>
                  <a:ext uri="{FF2B5EF4-FFF2-40B4-BE49-F238E27FC236}">
                    <a16:creationId xmlns:a16="http://schemas.microsoft.com/office/drawing/2014/main" id="{A57F4E0E-9B30-44B2-8472-E6C80DC96615}"/>
                  </a:ext>
                </a:extLst>
              </p:cNvPr>
              <p:cNvSpPr/>
              <p:nvPr/>
            </p:nvSpPr>
            <p:spPr>
              <a:xfrm>
                <a:off x="10782518" y="371841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3" name="Freeform: Shape 145">
                <a:extLst>
                  <a:ext uri="{FF2B5EF4-FFF2-40B4-BE49-F238E27FC236}">
                    <a16:creationId xmlns:a16="http://schemas.microsoft.com/office/drawing/2014/main" id="{BD7BB054-0B21-433E-9DC9-39F01BB0997C}"/>
                  </a:ext>
                </a:extLst>
              </p:cNvPr>
              <p:cNvSpPr/>
              <p:nvPr/>
            </p:nvSpPr>
            <p:spPr>
              <a:xfrm>
                <a:off x="10344131" y="33611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4" name="Freeform: Shape 146">
                <a:extLst>
                  <a:ext uri="{FF2B5EF4-FFF2-40B4-BE49-F238E27FC236}">
                    <a16:creationId xmlns:a16="http://schemas.microsoft.com/office/drawing/2014/main" id="{1F560CD0-E47B-4444-8BFE-0823B286C48B}"/>
                  </a:ext>
                </a:extLst>
              </p:cNvPr>
              <p:cNvSpPr/>
              <p:nvPr/>
            </p:nvSpPr>
            <p:spPr>
              <a:xfrm>
                <a:off x="10476328" y="340300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5" name="Freeform: Shape 147">
                <a:extLst>
                  <a:ext uri="{FF2B5EF4-FFF2-40B4-BE49-F238E27FC236}">
                    <a16:creationId xmlns:a16="http://schemas.microsoft.com/office/drawing/2014/main" id="{32A38A25-FAB8-4092-9065-BF921C7B1802}"/>
                  </a:ext>
                </a:extLst>
              </p:cNvPr>
              <p:cNvSpPr/>
              <p:nvPr/>
            </p:nvSpPr>
            <p:spPr>
              <a:xfrm>
                <a:off x="10596774" y="34459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48">
                <a:extLst>
                  <a:ext uri="{FF2B5EF4-FFF2-40B4-BE49-F238E27FC236}">
                    <a16:creationId xmlns:a16="http://schemas.microsoft.com/office/drawing/2014/main" id="{41D7E554-B5D7-4C01-9825-09B158D5655E}"/>
                  </a:ext>
                </a:extLst>
              </p:cNvPr>
              <p:cNvSpPr/>
              <p:nvPr/>
            </p:nvSpPr>
            <p:spPr>
              <a:xfrm>
                <a:off x="10719023" y="348780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49">
                <a:extLst>
                  <a:ext uri="{FF2B5EF4-FFF2-40B4-BE49-F238E27FC236}">
                    <a16:creationId xmlns:a16="http://schemas.microsoft.com/office/drawing/2014/main" id="{A11035A0-D053-41E8-98C5-B2F49BFDC2A3}"/>
                  </a:ext>
                </a:extLst>
              </p:cNvPr>
              <p:cNvSpPr/>
              <p:nvPr/>
            </p:nvSpPr>
            <p:spPr>
              <a:xfrm>
                <a:off x="10849885" y="3534803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50">
                <a:extLst>
                  <a:ext uri="{FF2B5EF4-FFF2-40B4-BE49-F238E27FC236}">
                    <a16:creationId xmlns:a16="http://schemas.microsoft.com/office/drawing/2014/main" id="{143109C3-C12A-4993-9877-6DDE07285569}"/>
                  </a:ext>
                </a:extLst>
              </p:cNvPr>
              <p:cNvSpPr/>
              <p:nvPr/>
            </p:nvSpPr>
            <p:spPr>
              <a:xfrm>
                <a:off x="10389599" y="320484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51">
                <a:extLst>
                  <a:ext uri="{FF2B5EF4-FFF2-40B4-BE49-F238E27FC236}">
                    <a16:creationId xmlns:a16="http://schemas.microsoft.com/office/drawing/2014/main" id="{2842F9B8-9C34-47DD-B54C-6FA8AC6A230C}"/>
                  </a:ext>
                </a:extLst>
              </p:cNvPr>
              <p:cNvSpPr/>
              <p:nvPr/>
            </p:nvSpPr>
            <p:spPr>
              <a:xfrm>
                <a:off x="10524600" y="32381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70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52">
                <a:extLst>
                  <a:ext uri="{FF2B5EF4-FFF2-40B4-BE49-F238E27FC236}">
                    <a16:creationId xmlns:a16="http://schemas.microsoft.com/office/drawing/2014/main" id="{F3FA7655-C432-45B2-ABEA-D5C82E37366D}"/>
                  </a:ext>
                </a:extLst>
              </p:cNvPr>
              <p:cNvSpPr/>
              <p:nvPr/>
            </p:nvSpPr>
            <p:spPr>
              <a:xfrm>
                <a:off x="10647784" y="327334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53">
                <a:extLst>
                  <a:ext uri="{FF2B5EF4-FFF2-40B4-BE49-F238E27FC236}">
                    <a16:creationId xmlns:a16="http://schemas.microsoft.com/office/drawing/2014/main" id="{4EE63CCE-C114-4AF0-987E-DA517C902C25}"/>
                  </a:ext>
                </a:extLst>
              </p:cNvPr>
              <p:cNvSpPr/>
              <p:nvPr/>
            </p:nvSpPr>
            <p:spPr>
              <a:xfrm>
                <a:off x="10772236" y="33071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54">
                <a:extLst>
                  <a:ext uri="{FF2B5EF4-FFF2-40B4-BE49-F238E27FC236}">
                    <a16:creationId xmlns:a16="http://schemas.microsoft.com/office/drawing/2014/main" id="{C2AB4C19-83A4-4F2E-A00F-B60D79BB1AC1}"/>
                  </a:ext>
                </a:extLst>
              </p:cNvPr>
              <p:cNvSpPr/>
              <p:nvPr/>
            </p:nvSpPr>
            <p:spPr>
              <a:xfrm>
                <a:off x="10905968" y="334605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55">
                <a:extLst>
                  <a:ext uri="{FF2B5EF4-FFF2-40B4-BE49-F238E27FC236}">
                    <a16:creationId xmlns:a16="http://schemas.microsoft.com/office/drawing/2014/main" id="{92480B01-493C-4C25-8F18-90034B90A9EA}"/>
                  </a:ext>
                </a:extLst>
              </p:cNvPr>
              <p:cNvSpPr/>
              <p:nvPr/>
            </p:nvSpPr>
            <p:spPr>
              <a:xfrm>
                <a:off x="10425386" y="304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56">
                <a:extLst>
                  <a:ext uri="{FF2B5EF4-FFF2-40B4-BE49-F238E27FC236}">
                    <a16:creationId xmlns:a16="http://schemas.microsoft.com/office/drawing/2014/main" id="{67439293-838C-4C43-BD1B-6626752AB59E}"/>
                  </a:ext>
                </a:extLst>
              </p:cNvPr>
              <p:cNvSpPr/>
              <p:nvPr/>
            </p:nvSpPr>
            <p:spPr>
              <a:xfrm>
                <a:off x="10562590" y="306904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57">
                <a:extLst>
                  <a:ext uri="{FF2B5EF4-FFF2-40B4-BE49-F238E27FC236}">
                    <a16:creationId xmlns:a16="http://schemas.microsoft.com/office/drawing/2014/main" id="{F519498B-D1B5-4D91-B7E3-C7D320E797C9}"/>
                  </a:ext>
                </a:extLst>
              </p:cNvPr>
              <p:cNvSpPr/>
              <p:nvPr/>
            </p:nvSpPr>
            <p:spPr>
              <a:xfrm>
                <a:off x="10687977" y="309621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58">
                <a:extLst>
                  <a:ext uri="{FF2B5EF4-FFF2-40B4-BE49-F238E27FC236}">
                    <a16:creationId xmlns:a16="http://schemas.microsoft.com/office/drawing/2014/main" id="{A200C8D0-F4F0-472C-8A8D-F627404ED8BE}"/>
                  </a:ext>
                </a:extLst>
              </p:cNvPr>
              <p:cNvSpPr/>
              <p:nvPr/>
            </p:nvSpPr>
            <p:spPr>
              <a:xfrm>
                <a:off x="10814165" y="312198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59">
                <a:extLst>
                  <a:ext uri="{FF2B5EF4-FFF2-40B4-BE49-F238E27FC236}">
                    <a16:creationId xmlns:a16="http://schemas.microsoft.com/office/drawing/2014/main" id="{C12A42EA-31ED-4FA6-BFE6-E1A47FBB8AB5}"/>
                  </a:ext>
                </a:extLst>
              </p:cNvPr>
              <p:cNvSpPr/>
              <p:nvPr/>
            </p:nvSpPr>
            <p:spPr>
              <a:xfrm>
                <a:off x="10950234" y="315243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60">
                <a:extLst>
                  <a:ext uri="{FF2B5EF4-FFF2-40B4-BE49-F238E27FC236}">
                    <a16:creationId xmlns:a16="http://schemas.microsoft.com/office/drawing/2014/main" id="{61DAB24C-E635-486C-8DB9-6189A8B77074}"/>
                  </a:ext>
                </a:extLst>
              </p:cNvPr>
              <p:cNvSpPr/>
              <p:nvPr/>
            </p:nvSpPr>
            <p:spPr>
              <a:xfrm>
                <a:off x="10451157" y="28806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61">
                <a:extLst>
                  <a:ext uri="{FF2B5EF4-FFF2-40B4-BE49-F238E27FC236}">
                    <a16:creationId xmlns:a16="http://schemas.microsoft.com/office/drawing/2014/main" id="{8D31DA2D-1D35-4D71-BDF1-4FB43F9B5AEB}"/>
                  </a:ext>
                </a:extLst>
              </p:cNvPr>
              <p:cNvSpPr/>
              <p:nvPr/>
            </p:nvSpPr>
            <p:spPr>
              <a:xfrm>
                <a:off x="10590031" y="289611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62">
                <a:extLst>
                  <a:ext uri="{FF2B5EF4-FFF2-40B4-BE49-F238E27FC236}">
                    <a16:creationId xmlns:a16="http://schemas.microsoft.com/office/drawing/2014/main" id="{2DA6E6D8-34AB-4502-B718-86CEDB55CD7C}"/>
                  </a:ext>
                </a:extLst>
              </p:cNvPr>
              <p:cNvSpPr/>
              <p:nvPr/>
            </p:nvSpPr>
            <p:spPr>
              <a:xfrm>
                <a:off x="10717154" y="291521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63">
                <a:extLst>
                  <a:ext uri="{FF2B5EF4-FFF2-40B4-BE49-F238E27FC236}">
                    <a16:creationId xmlns:a16="http://schemas.microsoft.com/office/drawing/2014/main" id="{C36ED0C1-AB2D-4BD0-8E07-8881850BCE86}"/>
                  </a:ext>
                </a:extLst>
              </p:cNvPr>
              <p:cNvSpPr/>
              <p:nvPr/>
            </p:nvSpPr>
            <p:spPr>
              <a:xfrm>
                <a:off x="10844544" y="293270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64">
                <a:extLst>
                  <a:ext uri="{FF2B5EF4-FFF2-40B4-BE49-F238E27FC236}">
                    <a16:creationId xmlns:a16="http://schemas.microsoft.com/office/drawing/2014/main" id="{96827963-7F8E-4958-9F64-21D3B7AB1101}"/>
                  </a:ext>
                </a:extLst>
              </p:cNvPr>
              <p:cNvSpPr/>
              <p:nvPr/>
            </p:nvSpPr>
            <p:spPr>
              <a:xfrm>
                <a:off x="10982416" y="295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65">
                <a:extLst>
                  <a:ext uri="{FF2B5EF4-FFF2-40B4-BE49-F238E27FC236}">
                    <a16:creationId xmlns:a16="http://schemas.microsoft.com/office/drawing/2014/main" id="{A4E4F306-8FD6-4E95-B693-104CD931E569}"/>
                  </a:ext>
                </a:extLst>
              </p:cNvPr>
              <p:cNvSpPr/>
              <p:nvPr/>
            </p:nvSpPr>
            <p:spPr>
              <a:xfrm>
                <a:off x="10466647" y="271344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66">
                <a:extLst>
                  <a:ext uri="{FF2B5EF4-FFF2-40B4-BE49-F238E27FC236}">
                    <a16:creationId xmlns:a16="http://schemas.microsoft.com/office/drawing/2014/main" id="{609F6FE9-470A-42A1-A982-E45FF891D25C}"/>
                  </a:ext>
                </a:extLst>
              </p:cNvPr>
              <p:cNvSpPr/>
              <p:nvPr/>
            </p:nvSpPr>
            <p:spPr>
              <a:xfrm>
                <a:off x="10606589" y="271978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67">
                <a:extLst>
                  <a:ext uri="{FF2B5EF4-FFF2-40B4-BE49-F238E27FC236}">
                    <a16:creationId xmlns:a16="http://schemas.microsoft.com/office/drawing/2014/main" id="{78EF68B8-743C-48B0-8DA8-7C9FA07184ED}"/>
                  </a:ext>
                </a:extLst>
              </p:cNvPr>
              <p:cNvSpPr/>
              <p:nvPr/>
            </p:nvSpPr>
            <p:spPr>
              <a:xfrm>
                <a:off x="10734847" y="273060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68">
                <a:extLst>
                  <a:ext uri="{FF2B5EF4-FFF2-40B4-BE49-F238E27FC236}">
                    <a16:creationId xmlns:a16="http://schemas.microsoft.com/office/drawing/2014/main" id="{44A3040F-143B-42CD-81B5-8E5063AF521E}"/>
                  </a:ext>
                </a:extLst>
              </p:cNvPr>
              <p:cNvSpPr/>
              <p:nvPr/>
            </p:nvSpPr>
            <p:spPr>
              <a:xfrm>
                <a:off x="10862971" y="273968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69">
                <a:extLst>
                  <a:ext uri="{FF2B5EF4-FFF2-40B4-BE49-F238E27FC236}">
                    <a16:creationId xmlns:a16="http://schemas.microsoft.com/office/drawing/2014/main" id="{EF062117-A476-431C-A109-97933EE7EFA0}"/>
                  </a:ext>
                </a:extLst>
              </p:cNvPr>
              <p:cNvSpPr/>
              <p:nvPr/>
            </p:nvSpPr>
            <p:spPr>
              <a:xfrm>
                <a:off x="11002112" y="275283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70">
                <a:extLst>
                  <a:ext uri="{FF2B5EF4-FFF2-40B4-BE49-F238E27FC236}">
                    <a16:creationId xmlns:a16="http://schemas.microsoft.com/office/drawing/2014/main" id="{DE6B1F67-867D-4067-A181-D646A56E5642}"/>
                  </a:ext>
                </a:extLst>
              </p:cNvPr>
              <p:cNvSpPr/>
              <p:nvPr/>
            </p:nvSpPr>
            <p:spPr>
              <a:xfrm>
                <a:off x="10471388" y="2544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71">
                <a:extLst>
                  <a:ext uri="{FF2B5EF4-FFF2-40B4-BE49-F238E27FC236}">
                    <a16:creationId xmlns:a16="http://schemas.microsoft.com/office/drawing/2014/main" id="{86CC1077-121F-49DD-AFB5-A2AEE9F63DAE}"/>
                  </a:ext>
                </a:extLst>
              </p:cNvPr>
              <p:cNvSpPr/>
              <p:nvPr/>
            </p:nvSpPr>
            <p:spPr>
              <a:xfrm>
                <a:off x="10611864" y="254165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172">
                <a:extLst>
                  <a:ext uri="{FF2B5EF4-FFF2-40B4-BE49-F238E27FC236}">
                    <a16:creationId xmlns:a16="http://schemas.microsoft.com/office/drawing/2014/main" id="{E2F9586F-BFD9-4360-B859-DE1E67820CEC}"/>
                  </a:ext>
                </a:extLst>
              </p:cNvPr>
              <p:cNvSpPr/>
              <p:nvPr/>
            </p:nvSpPr>
            <p:spPr>
              <a:xfrm>
                <a:off x="10740722" y="2544261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173">
                <a:extLst>
                  <a:ext uri="{FF2B5EF4-FFF2-40B4-BE49-F238E27FC236}">
                    <a16:creationId xmlns:a16="http://schemas.microsoft.com/office/drawing/2014/main" id="{5266FB81-F979-43AF-A314-19E45429C9BB}"/>
                  </a:ext>
                </a:extLst>
              </p:cNvPr>
              <p:cNvSpPr/>
              <p:nvPr/>
            </p:nvSpPr>
            <p:spPr>
              <a:xfrm>
                <a:off x="10868913" y="254519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174">
                <a:extLst>
                  <a:ext uri="{FF2B5EF4-FFF2-40B4-BE49-F238E27FC236}">
                    <a16:creationId xmlns:a16="http://schemas.microsoft.com/office/drawing/2014/main" id="{75B6D4EB-5D7F-48A2-8B1C-2CEB19B7E517}"/>
                  </a:ext>
                </a:extLst>
              </p:cNvPr>
              <p:cNvSpPr/>
              <p:nvPr/>
            </p:nvSpPr>
            <p:spPr>
              <a:xfrm>
                <a:off x="11008855" y="254973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175">
                <a:extLst>
                  <a:ext uri="{FF2B5EF4-FFF2-40B4-BE49-F238E27FC236}">
                    <a16:creationId xmlns:a16="http://schemas.microsoft.com/office/drawing/2014/main" id="{141BE864-726D-49EE-A5E0-4FB832CCA88F}"/>
                  </a:ext>
                </a:extLst>
              </p:cNvPr>
              <p:cNvSpPr/>
              <p:nvPr/>
            </p:nvSpPr>
            <p:spPr>
              <a:xfrm>
                <a:off x="10471121" y="23657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176">
                <a:extLst>
                  <a:ext uri="{FF2B5EF4-FFF2-40B4-BE49-F238E27FC236}">
                    <a16:creationId xmlns:a16="http://schemas.microsoft.com/office/drawing/2014/main" id="{90330D91-B8D2-4A49-AB8E-40D754BBA9D1}"/>
                  </a:ext>
                </a:extLst>
              </p:cNvPr>
              <p:cNvSpPr/>
              <p:nvPr/>
            </p:nvSpPr>
            <p:spPr>
              <a:xfrm>
                <a:off x="10611930" y="2362790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177">
                <a:extLst>
                  <a:ext uri="{FF2B5EF4-FFF2-40B4-BE49-F238E27FC236}">
                    <a16:creationId xmlns:a16="http://schemas.microsoft.com/office/drawing/2014/main" id="{4F78389A-8BDF-4D69-9551-601B75A81D2E}"/>
                  </a:ext>
                </a:extLst>
              </p:cNvPr>
              <p:cNvSpPr/>
              <p:nvPr/>
            </p:nvSpPr>
            <p:spPr>
              <a:xfrm>
                <a:off x="10741056" y="2365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178">
                <a:extLst>
                  <a:ext uri="{FF2B5EF4-FFF2-40B4-BE49-F238E27FC236}">
                    <a16:creationId xmlns:a16="http://schemas.microsoft.com/office/drawing/2014/main" id="{B4CCE2B9-5D5A-47E6-A8E9-16B16F924D34}"/>
                  </a:ext>
                </a:extLst>
              </p:cNvPr>
              <p:cNvSpPr/>
              <p:nvPr/>
            </p:nvSpPr>
            <p:spPr>
              <a:xfrm>
                <a:off x="10869047" y="23661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179">
                <a:extLst>
                  <a:ext uri="{FF2B5EF4-FFF2-40B4-BE49-F238E27FC236}">
                    <a16:creationId xmlns:a16="http://schemas.microsoft.com/office/drawing/2014/main" id="{BE63C817-FFCB-497A-89BB-394BD2EE1F02}"/>
                  </a:ext>
                </a:extLst>
              </p:cNvPr>
              <p:cNvSpPr/>
              <p:nvPr/>
            </p:nvSpPr>
            <p:spPr>
              <a:xfrm>
                <a:off x="11009122" y="237080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180">
                <a:extLst>
                  <a:ext uri="{FF2B5EF4-FFF2-40B4-BE49-F238E27FC236}">
                    <a16:creationId xmlns:a16="http://schemas.microsoft.com/office/drawing/2014/main" id="{705F3626-AEF3-4F30-99F3-8CD56EA6A806}"/>
                  </a:ext>
                </a:extLst>
              </p:cNvPr>
              <p:cNvSpPr/>
              <p:nvPr/>
            </p:nvSpPr>
            <p:spPr>
              <a:xfrm>
                <a:off x="10470787" y="21870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181">
                <a:extLst>
                  <a:ext uri="{FF2B5EF4-FFF2-40B4-BE49-F238E27FC236}">
                    <a16:creationId xmlns:a16="http://schemas.microsoft.com/office/drawing/2014/main" id="{A6B52A98-F8D3-4C42-8C37-99DF904F5368}"/>
                  </a:ext>
                </a:extLst>
              </p:cNvPr>
              <p:cNvSpPr/>
              <p:nvPr/>
            </p:nvSpPr>
            <p:spPr>
              <a:xfrm>
                <a:off x="10611930" y="218392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182">
                <a:extLst>
                  <a:ext uri="{FF2B5EF4-FFF2-40B4-BE49-F238E27FC236}">
                    <a16:creationId xmlns:a16="http://schemas.microsoft.com/office/drawing/2014/main" id="{74D46C80-AF34-4D07-81C6-D33FF2A6CE7C}"/>
                  </a:ext>
                </a:extLst>
              </p:cNvPr>
              <p:cNvSpPr/>
              <p:nvPr/>
            </p:nvSpPr>
            <p:spPr>
              <a:xfrm>
                <a:off x="10741256" y="218632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183">
                <a:extLst>
                  <a:ext uri="{FF2B5EF4-FFF2-40B4-BE49-F238E27FC236}">
                    <a16:creationId xmlns:a16="http://schemas.microsoft.com/office/drawing/2014/main" id="{14C17681-DA05-4017-8234-7FAE1D509518}"/>
                  </a:ext>
                </a:extLst>
              </p:cNvPr>
              <p:cNvSpPr/>
              <p:nvPr/>
            </p:nvSpPr>
            <p:spPr>
              <a:xfrm>
                <a:off x="10869047" y="2186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184">
                <a:extLst>
                  <a:ext uri="{FF2B5EF4-FFF2-40B4-BE49-F238E27FC236}">
                    <a16:creationId xmlns:a16="http://schemas.microsoft.com/office/drawing/2014/main" id="{C78BEB2B-8E66-4FC8-AF55-CD8CFB8A695D}"/>
                  </a:ext>
                </a:extLst>
              </p:cNvPr>
              <p:cNvSpPr/>
              <p:nvPr/>
            </p:nvSpPr>
            <p:spPr>
              <a:xfrm>
                <a:off x="11009322" y="219180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185">
                <a:extLst>
                  <a:ext uri="{FF2B5EF4-FFF2-40B4-BE49-F238E27FC236}">
                    <a16:creationId xmlns:a16="http://schemas.microsoft.com/office/drawing/2014/main" id="{6F49220A-97B3-49E1-846E-02926B1023AB}"/>
                  </a:ext>
                </a:extLst>
              </p:cNvPr>
              <p:cNvSpPr/>
              <p:nvPr/>
            </p:nvSpPr>
            <p:spPr>
              <a:xfrm>
                <a:off x="10470520" y="20084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186">
                <a:extLst>
                  <a:ext uri="{FF2B5EF4-FFF2-40B4-BE49-F238E27FC236}">
                    <a16:creationId xmlns:a16="http://schemas.microsoft.com/office/drawing/2014/main" id="{5D38CAC9-0836-4DDC-8374-4B6BBDD3C4F6}"/>
                  </a:ext>
                </a:extLst>
              </p:cNvPr>
              <p:cNvSpPr/>
              <p:nvPr/>
            </p:nvSpPr>
            <p:spPr>
              <a:xfrm>
                <a:off x="10611997" y="200505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187">
                <a:extLst>
                  <a:ext uri="{FF2B5EF4-FFF2-40B4-BE49-F238E27FC236}">
                    <a16:creationId xmlns:a16="http://schemas.microsoft.com/office/drawing/2014/main" id="{4080D029-2550-4730-A62B-F48924F80A0E}"/>
                  </a:ext>
                </a:extLst>
              </p:cNvPr>
              <p:cNvSpPr/>
              <p:nvPr/>
            </p:nvSpPr>
            <p:spPr>
              <a:xfrm>
                <a:off x="10741523" y="20073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188">
                <a:extLst>
                  <a:ext uri="{FF2B5EF4-FFF2-40B4-BE49-F238E27FC236}">
                    <a16:creationId xmlns:a16="http://schemas.microsoft.com/office/drawing/2014/main" id="{E0D0A600-DE86-48D3-8883-461215A80A30}"/>
                  </a:ext>
                </a:extLst>
              </p:cNvPr>
              <p:cNvSpPr/>
              <p:nvPr/>
            </p:nvSpPr>
            <p:spPr>
              <a:xfrm>
                <a:off x="10869180" y="2007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189">
                <a:extLst>
                  <a:ext uri="{FF2B5EF4-FFF2-40B4-BE49-F238E27FC236}">
                    <a16:creationId xmlns:a16="http://schemas.microsoft.com/office/drawing/2014/main" id="{40592488-933B-416C-B29D-5F2315044C60}"/>
                  </a:ext>
                </a:extLst>
              </p:cNvPr>
              <p:cNvSpPr/>
              <p:nvPr/>
            </p:nvSpPr>
            <p:spPr>
              <a:xfrm>
                <a:off x="11009590" y="201293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190">
                <a:extLst>
                  <a:ext uri="{FF2B5EF4-FFF2-40B4-BE49-F238E27FC236}">
                    <a16:creationId xmlns:a16="http://schemas.microsoft.com/office/drawing/2014/main" id="{4AA60B7D-5A75-4054-8E2C-8F756168CA40}"/>
                  </a:ext>
                </a:extLst>
              </p:cNvPr>
              <p:cNvSpPr/>
              <p:nvPr/>
            </p:nvSpPr>
            <p:spPr>
              <a:xfrm>
                <a:off x="10469451" y="183153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191">
                <a:extLst>
                  <a:ext uri="{FF2B5EF4-FFF2-40B4-BE49-F238E27FC236}">
                    <a16:creationId xmlns:a16="http://schemas.microsoft.com/office/drawing/2014/main" id="{9965D27C-6965-4C91-98BA-D2F466AD9C6B}"/>
                  </a:ext>
                </a:extLst>
              </p:cNvPr>
              <p:cNvSpPr/>
              <p:nvPr/>
            </p:nvSpPr>
            <p:spPr>
              <a:xfrm>
                <a:off x="10611329" y="182719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192">
                <a:extLst>
                  <a:ext uri="{FF2B5EF4-FFF2-40B4-BE49-F238E27FC236}">
                    <a16:creationId xmlns:a16="http://schemas.microsoft.com/office/drawing/2014/main" id="{6EE3FA5F-379D-4182-B0E0-D34393602F80}"/>
                  </a:ext>
                </a:extLst>
              </p:cNvPr>
              <p:cNvSpPr/>
              <p:nvPr/>
            </p:nvSpPr>
            <p:spPr>
              <a:xfrm>
                <a:off x="10741056" y="18287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193">
                <a:extLst>
                  <a:ext uri="{FF2B5EF4-FFF2-40B4-BE49-F238E27FC236}">
                    <a16:creationId xmlns:a16="http://schemas.microsoft.com/office/drawing/2014/main" id="{4F4D7465-0D9A-4F7B-A1C8-AA6A4B10AF07}"/>
                  </a:ext>
                </a:extLst>
              </p:cNvPr>
              <p:cNvSpPr/>
              <p:nvPr/>
            </p:nvSpPr>
            <p:spPr>
              <a:xfrm>
                <a:off x="10868446" y="1828661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194">
                <a:extLst>
                  <a:ext uri="{FF2B5EF4-FFF2-40B4-BE49-F238E27FC236}">
                    <a16:creationId xmlns:a16="http://schemas.microsoft.com/office/drawing/2014/main" id="{19DC9BDB-0776-4C85-8E59-09A1F8FE2EB1}"/>
                  </a:ext>
                </a:extLst>
              </p:cNvPr>
              <p:cNvSpPr/>
              <p:nvPr/>
            </p:nvSpPr>
            <p:spPr>
              <a:xfrm>
                <a:off x="11009055" y="183306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sp>
          <p:nvSpPr>
            <p:cNvPr id="39" name="Freeform: Shape 203">
              <a:extLst>
                <a:ext uri="{FF2B5EF4-FFF2-40B4-BE49-F238E27FC236}">
                  <a16:creationId xmlns:a16="http://schemas.microsoft.com/office/drawing/2014/main" id="{400DD85D-6E22-4F86-BDE3-EE13DFF73590}"/>
                </a:ext>
              </a:extLst>
            </p:cNvPr>
            <p:cNvSpPr/>
            <p:nvPr userDrawn="1"/>
          </p:nvSpPr>
          <p:spPr>
            <a:xfrm>
              <a:off x="6774046" y="5064157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0" name="Freeform: Shape 204">
              <a:extLst>
                <a:ext uri="{FF2B5EF4-FFF2-40B4-BE49-F238E27FC236}">
                  <a16:creationId xmlns:a16="http://schemas.microsoft.com/office/drawing/2014/main" id="{9C9900ED-055B-41C1-BBD1-09A22CB06FF9}"/>
                </a:ext>
              </a:extLst>
            </p:cNvPr>
            <p:cNvSpPr/>
            <p:nvPr userDrawn="1"/>
          </p:nvSpPr>
          <p:spPr>
            <a:xfrm>
              <a:off x="6724791" y="5185266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1" name="Freeform: Shape 205">
              <a:extLst>
                <a:ext uri="{FF2B5EF4-FFF2-40B4-BE49-F238E27FC236}">
                  <a16:creationId xmlns:a16="http://schemas.microsoft.com/office/drawing/2014/main" id="{F1F260B6-9ECE-4466-8307-5222E3F0DFB1}"/>
                </a:ext>
              </a:extLst>
            </p:cNvPr>
            <p:cNvSpPr/>
            <p:nvPr userDrawn="1"/>
          </p:nvSpPr>
          <p:spPr>
            <a:xfrm>
              <a:off x="6665105" y="5302898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2" name="Freeform: Shape 206">
              <a:extLst>
                <a:ext uri="{FF2B5EF4-FFF2-40B4-BE49-F238E27FC236}">
                  <a16:creationId xmlns:a16="http://schemas.microsoft.com/office/drawing/2014/main" id="{0ABCF65E-B3A6-41AC-8C0E-B1343D3ACA75}"/>
                </a:ext>
              </a:extLst>
            </p:cNvPr>
            <p:cNvSpPr/>
            <p:nvPr userDrawn="1"/>
          </p:nvSpPr>
          <p:spPr>
            <a:xfrm>
              <a:off x="6599047" y="5125581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</p:spTree>
    <p:extLst>
      <p:ext uri="{BB962C8B-B14F-4D97-AF65-F5344CB8AC3E}">
        <p14:creationId xmlns:p14="http://schemas.microsoft.com/office/powerpoint/2010/main" val="3750826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E42E2-2AE3-49DB-A2E7-A2EBC49C4DAD}"/>
              </a:ext>
            </a:extLst>
          </p:cNvPr>
          <p:cNvSpPr/>
          <p:nvPr/>
        </p:nvSpPr>
        <p:spPr>
          <a:xfrm>
            <a:off x="0" y="0"/>
            <a:ext cx="10818030" cy="2152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31200" y="241160"/>
            <a:ext cx="10058609" cy="1830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9745" name="Graphic 6">
            <a:extLst>
              <a:ext uri="{FF2B5EF4-FFF2-40B4-BE49-F238E27FC236}">
                <a16:creationId xmlns:a16="http://schemas.microsoft.com/office/drawing/2014/main" id="{106937C6-C0E0-4E1F-B68B-FC54CDB323FF}"/>
              </a:ext>
            </a:extLst>
          </p:cNvPr>
          <p:cNvGrpSpPr/>
          <p:nvPr/>
        </p:nvGrpSpPr>
        <p:grpSpPr>
          <a:xfrm>
            <a:off x="10850303" y="1983544"/>
            <a:ext cx="996704" cy="832744"/>
            <a:chOff x="675385" y="4919794"/>
            <a:chExt cx="1876897" cy="1568143"/>
          </a:xfrm>
        </p:grpSpPr>
        <p:sp>
          <p:nvSpPr>
            <p:cNvPr id="19746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7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8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375D9D-C6D8-4834-B55B-16C24A9A3694}"/>
              </a:ext>
            </a:extLst>
          </p:cNvPr>
          <p:cNvSpPr/>
          <p:nvPr/>
        </p:nvSpPr>
        <p:spPr>
          <a:xfrm>
            <a:off x="1" y="1983544"/>
            <a:ext cx="10818030" cy="17248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>
            <a:gsLst>
              <a:gs pos="76991">
                <a:schemeClr val="accent4"/>
              </a:gs>
              <a:gs pos="31000">
                <a:schemeClr val="accent5"/>
              </a:gs>
            </a:gsLst>
            <a:lin ang="18000000" scaled="0"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503890-47D5-4FF4-8DCC-5562B33E13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199" y="2312723"/>
            <a:ext cx="10386829" cy="40783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615046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561372" y="1"/>
            <a:ext cx="3630627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AC1E6B13-219F-4B1C-888F-5C7357B26B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778108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457ED1-0A11-495A-81BE-3F6796DD4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0200" y="1869831"/>
            <a:ext cx="2549497" cy="257851"/>
          </a:xfrm>
          <a:prstGeom prst="rect">
            <a:avLst/>
          </a:prstGeom>
        </p:spPr>
      </p:pic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A90AAA32-1D59-4A02-BEBD-B48E5A44A9AA}"/>
              </a:ext>
            </a:extLst>
          </p:cNvPr>
          <p:cNvSpPr/>
          <p:nvPr/>
        </p:nvSpPr>
        <p:spPr>
          <a:xfrm>
            <a:off x="9305502" y="2467601"/>
            <a:ext cx="2464405" cy="2151152"/>
          </a:xfrm>
          <a:custGeom>
            <a:avLst/>
            <a:gdLst>
              <a:gd name="connsiteX0" fmla="*/ 693622 w 2464405"/>
              <a:gd name="connsiteY0" fmla="*/ 2056673 h 2151152"/>
              <a:gd name="connsiteX1" fmla="*/ 709674 w 2464405"/>
              <a:gd name="connsiteY1" fmla="*/ 2061028 h 2151152"/>
              <a:gd name="connsiteX2" fmla="*/ 705319 w 2464405"/>
              <a:gd name="connsiteY2" fmla="*/ 2077081 h 2151152"/>
              <a:gd name="connsiteX3" fmla="*/ 689266 w 2464405"/>
              <a:gd name="connsiteY3" fmla="*/ 2072726 h 2151152"/>
              <a:gd name="connsiteX4" fmla="*/ 972808 w 2464405"/>
              <a:gd name="connsiteY4" fmla="*/ 2046531 h 2151152"/>
              <a:gd name="connsiteX5" fmla="*/ 976731 w 2464405"/>
              <a:gd name="connsiteY5" fmla="*/ 2057398 h 2151152"/>
              <a:gd name="connsiteX6" fmla="*/ 965864 w 2464405"/>
              <a:gd name="connsiteY6" fmla="*/ 2061322 h 2151152"/>
              <a:gd name="connsiteX7" fmla="*/ 961940 w 2464405"/>
              <a:gd name="connsiteY7" fmla="*/ 2050454 h 2151152"/>
              <a:gd name="connsiteX8" fmla="*/ 523710 w 2464405"/>
              <a:gd name="connsiteY8" fmla="*/ 2040732 h 2151152"/>
              <a:gd name="connsiteX9" fmla="*/ 534936 w 2464405"/>
              <a:gd name="connsiteY9" fmla="*/ 2096357 h 2151152"/>
              <a:gd name="connsiteX10" fmla="*/ 479311 w 2464405"/>
              <a:gd name="connsiteY10" fmla="*/ 2107584 h 2151152"/>
              <a:gd name="connsiteX11" fmla="*/ 468085 w 2464405"/>
              <a:gd name="connsiteY11" fmla="*/ 2051958 h 2151152"/>
              <a:gd name="connsiteX12" fmla="*/ 480493 w 2464405"/>
              <a:gd name="connsiteY12" fmla="*/ 2025521 h 2151152"/>
              <a:gd name="connsiteX13" fmla="*/ 488639 w 2464405"/>
              <a:gd name="connsiteY13" fmla="*/ 2039695 h 2151152"/>
              <a:gd name="connsiteX14" fmla="*/ 474465 w 2464405"/>
              <a:gd name="connsiteY14" fmla="*/ 2047840 h 2151152"/>
              <a:gd name="connsiteX15" fmla="*/ 466319 w 2464405"/>
              <a:gd name="connsiteY15" fmla="*/ 2033667 h 2151152"/>
              <a:gd name="connsiteX16" fmla="*/ 346664 w 2464405"/>
              <a:gd name="connsiteY16" fmla="*/ 1995001 h 2151152"/>
              <a:gd name="connsiteX17" fmla="*/ 374373 w 2464405"/>
              <a:gd name="connsiteY17" fmla="*/ 2035469 h 2151152"/>
              <a:gd name="connsiteX18" fmla="*/ 333905 w 2464405"/>
              <a:gd name="connsiteY18" fmla="*/ 2063177 h 2151152"/>
              <a:gd name="connsiteX19" fmla="*/ 306196 w 2464405"/>
              <a:gd name="connsiteY19" fmla="*/ 2022710 h 2151152"/>
              <a:gd name="connsiteX20" fmla="*/ 1146188 w 2464405"/>
              <a:gd name="connsiteY20" fmla="*/ 1974613 h 2151152"/>
              <a:gd name="connsiteX21" fmla="*/ 1220168 w 2464405"/>
              <a:gd name="connsiteY21" fmla="*/ 1975969 h 2151152"/>
              <a:gd name="connsiteX22" fmla="*/ 1218812 w 2464405"/>
              <a:gd name="connsiteY22" fmla="*/ 2049949 h 2151152"/>
              <a:gd name="connsiteX23" fmla="*/ 1144832 w 2464405"/>
              <a:gd name="connsiteY23" fmla="*/ 2048593 h 2151152"/>
              <a:gd name="connsiteX24" fmla="*/ 1058611 w 2464405"/>
              <a:gd name="connsiteY24" fmla="*/ 1960156 h 2151152"/>
              <a:gd name="connsiteX25" fmla="*/ 1085009 w 2464405"/>
              <a:gd name="connsiteY25" fmla="*/ 1981116 h 2151152"/>
              <a:gd name="connsiteX26" fmla="*/ 1064049 w 2464405"/>
              <a:gd name="connsiteY26" fmla="*/ 2007515 h 2151152"/>
              <a:gd name="connsiteX27" fmla="*/ 1037650 w 2464405"/>
              <a:gd name="connsiteY27" fmla="*/ 1986554 h 2151152"/>
              <a:gd name="connsiteX28" fmla="*/ 213347 w 2464405"/>
              <a:gd name="connsiteY28" fmla="*/ 1908424 h 2151152"/>
              <a:gd name="connsiteX29" fmla="*/ 291424 w 2464405"/>
              <a:gd name="connsiteY29" fmla="*/ 1981616 h 2151152"/>
              <a:gd name="connsiteX30" fmla="*/ 218233 w 2464405"/>
              <a:gd name="connsiteY30" fmla="*/ 2059693 h 2151152"/>
              <a:gd name="connsiteX31" fmla="*/ 140155 w 2464405"/>
              <a:gd name="connsiteY31" fmla="*/ 1986502 h 2151152"/>
              <a:gd name="connsiteX32" fmla="*/ 460394 w 2464405"/>
              <a:gd name="connsiteY32" fmla="*/ 1900581 h 2151152"/>
              <a:gd name="connsiteX33" fmla="*/ 463440 w 2464405"/>
              <a:gd name="connsiteY33" fmla="*/ 1914812 h 2151152"/>
              <a:gd name="connsiteX34" fmla="*/ 449209 w 2464405"/>
              <a:gd name="connsiteY34" fmla="*/ 1917858 h 2151152"/>
              <a:gd name="connsiteX35" fmla="*/ 446163 w 2464405"/>
              <a:gd name="connsiteY35" fmla="*/ 1903626 h 2151152"/>
              <a:gd name="connsiteX36" fmla="*/ 766279 w 2464405"/>
              <a:gd name="connsiteY36" fmla="*/ 1898540 h 2151152"/>
              <a:gd name="connsiteX37" fmla="*/ 821863 w 2464405"/>
              <a:gd name="connsiteY37" fmla="*/ 1903364 h 2151152"/>
              <a:gd name="connsiteX38" fmla="*/ 817039 w 2464405"/>
              <a:gd name="connsiteY38" fmla="*/ 1958948 h 2151152"/>
              <a:gd name="connsiteX39" fmla="*/ 761455 w 2464405"/>
              <a:gd name="connsiteY39" fmla="*/ 1954124 h 2151152"/>
              <a:gd name="connsiteX40" fmla="*/ 1473418 w 2464405"/>
              <a:gd name="connsiteY40" fmla="*/ 1871606 h 2151152"/>
              <a:gd name="connsiteX41" fmla="*/ 1478472 w 2464405"/>
              <a:gd name="connsiteY41" fmla="*/ 1873831 h 2151152"/>
              <a:gd name="connsiteX42" fmla="*/ 1476247 w 2464405"/>
              <a:gd name="connsiteY42" fmla="*/ 1878885 h 2151152"/>
              <a:gd name="connsiteX43" fmla="*/ 1471193 w 2464405"/>
              <a:gd name="connsiteY43" fmla="*/ 1876660 h 2151152"/>
              <a:gd name="connsiteX44" fmla="*/ 1009249 w 2464405"/>
              <a:gd name="connsiteY44" fmla="*/ 1863590 h 2151152"/>
              <a:gd name="connsiteX45" fmla="*/ 1026046 w 2464405"/>
              <a:gd name="connsiteY45" fmla="*/ 1971594 h 2151152"/>
              <a:gd name="connsiteX46" fmla="*/ 932541 w 2464405"/>
              <a:gd name="connsiteY46" fmla="*/ 1986136 h 2151152"/>
              <a:gd name="connsiteX47" fmla="*/ 935267 w 2464405"/>
              <a:gd name="connsiteY47" fmla="*/ 2004734 h 2151152"/>
              <a:gd name="connsiteX48" fmla="*/ 905005 w 2464405"/>
              <a:gd name="connsiteY48" fmla="*/ 2009171 h 2151152"/>
              <a:gd name="connsiteX49" fmla="*/ 919663 w 2464405"/>
              <a:gd name="connsiteY49" fmla="*/ 2012196 h 2151152"/>
              <a:gd name="connsiteX50" fmla="*/ 890987 w 2464405"/>
              <a:gd name="connsiteY50" fmla="*/ 2151152 h 2151152"/>
              <a:gd name="connsiteX51" fmla="*/ 752030 w 2464405"/>
              <a:gd name="connsiteY51" fmla="*/ 2122476 h 2151152"/>
              <a:gd name="connsiteX52" fmla="*/ 780706 w 2464405"/>
              <a:gd name="connsiteY52" fmla="*/ 1983520 h 2151152"/>
              <a:gd name="connsiteX53" fmla="*/ 856390 w 2464405"/>
              <a:gd name="connsiteY53" fmla="*/ 1999139 h 2151152"/>
              <a:gd name="connsiteX54" fmla="*/ 849863 w 2464405"/>
              <a:gd name="connsiteY54" fmla="*/ 1954614 h 2151152"/>
              <a:gd name="connsiteX55" fmla="*/ 844621 w 2464405"/>
              <a:gd name="connsiteY55" fmla="*/ 1968807 h 2151152"/>
              <a:gd name="connsiteX56" fmla="*/ 825725 w 2464405"/>
              <a:gd name="connsiteY56" fmla="*/ 1961829 h 2151152"/>
              <a:gd name="connsiteX57" fmla="*/ 832703 w 2464405"/>
              <a:gd name="connsiteY57" fmla="*/ 1942933 h 2151152"/>
              <a:gd name="connsiteX58" fmla="*/ 849034 w 2464405"/>
              <a:gd name="connsiteY58" fmla="*/ 1948965 h 2151152"/>
              <a:gd name="connsiteX59" fmla="*/ 847650 w 2464405"/>
              <a:gd name="connsiteY59" fmla="*/ 1939522 h 2151152"/>
              <a:gd name="connsiteX60" fmla="*/ 909042 w 2464405"/>
              <a:gd name="connsiteY60" fmla="*/ 1930523 h 2151152"/>
              <a:gd name="connsiteX61" fmla="*/ 901245 w 2464405"/>
              <a:gd name="connsiteY61" fmla="*/ 1880387 h 2151152"/>
              <a:gd name="connsiteX62" fmla="*/ 1312455 w 2464405"/>
              <a:gd name="connsiteY62" fmla="*/ 1861596 h 2151152"/>
              <a:gd name="connsiteX63" fmla="*/ 1330924 w 2464405"/>
              <a:gd name="connsiteY63" fmla="*/ 1899016 h 2151152"/>
              <a:gd name="connsiteX64" fmla="*/ 1343680 w 2464405"/>
              <a:gd name="connsiteY64" fmla="*/ 1871295 h 2151152"/>
              <a:gd name="connsiteX65" fmla="*/ 1427432 w 2464405"/>
              <a:gd name="connsiteY65" fmla="*/ 1909833 h 2151152"/>
              <a:gd name="connsiteX66" fmla="*/ 1388893 w 2464405"/>
              <a:gd name="connsiteY66" fmla="*/ 1993585 h 2151152"/>
              <a:gd name="connsiteX67" fmla="*/ 1318144 w 2464405"/>
              <a:gd name="connsiteY67" fmla="*/ 1961029 h 2151152"/>
              <a:gd name="connsiteX68" fmla="*/ 1270820 w 2464405"/>
              <a:gd name="connsiteY68" fmla="*/ 1984387 h 2151152"/>
              <a:gd name="connsiteX69" fmla="*/ 1230242 w 2464405"/>
              <a:gd name="connsiteY69" fmla="*/ 1902174 h 2151152"/>
              <a:gd name="connsiteX70" fmla="*/ 227637 w 2464405"/>
              <a:gd name="connsiteY70" fmla="*/ 1857393 h 2151152"/>
              <a:gd name="connsiteX71" fmla="*/ 235633 w 2464405"/>
              <a:gd name="connsiteY71" fmla="*/ 1868686 h 2151152"/>
              <a:gd name="connsiteX72" fmla="*/ 224340 w 2464405"/>
              <a:gd name="connsiteY72" fmla="*/ 1876683 h 2151152"/>
              <a:gd name="connsiteX73" fmla="*/ 216343 w 2464405"/>
              <a:gd name="connsiteY73" fmla="*/ 1865389 h 2151152"/>
              <a:gd name="connsiteX74" fmla="*/ 46706 w 2464405"/>
              <a:gd name="connsiteY74" fmla="*/ 1854312 h 2151152"/>
              <a:gd name="connsiteX75" fmla="*/ 66898 w 2464405"/>
              <a:gd name="connsiteY75" fmla="*/ 1901019 h 2151152"/>
              <a:gd name="connsiteX76" fmla="*/ 20192 w 2464405"/>
              <a:gd name="connsiteY76" fmla="*/ 1921211 h 2151152"/>
              <a:gd name="connsiteX77" fmla="*/ 0 w 2464405"/>
              <a:gd name="connsiteY77" fmla="*/ 1874504 h 2151152"/>
              <a:gd name="connsiteX78" fmla="*/ 1291222 w 2464405"/>
              <a:gd name="connsiteY78" fmla="*/ 1844698 h 2151152"/>
              <a:gd name="connsiteX79" fmla="*/ 1298097 w 2464405"/>
              <a:gd name="connsiteY79" fmla="*/ 1850867 h 2151152"/>
              <a:gd name="connsiteX80" fmla="*/ 1291928 w 2464405"/>
              <a:gd name="connsiteY80" fmla="*/ 1857742 h 2151152"/>
              <a:gd name="connsiteX81" fmla="*/ 1285053 w 2464405"/>
              <a:gd name="connsiteY81" fmla="*/ 1851573 h 2151152"/>
              <a:gd name="connsiteX82" fmla="*/ 661311 w 2464405"/>
              <a:gd name="connsiteY82" fmla="*/ 1814969 h 2151152"/>
              <a:gd name="connsiteX83" fmla="*/ 756704 w 2464405"/>
              <a:gd name="connsiteY83" fmla="*/ 1869778 h 2151152"/>
              <a:gd name="connsiteX84" fmla="*/ 701895 w 2464405"/>
              <a:gd name="connsiteY84" fmla="*/ 1965171 h 2151152"/>
              <a:gd name="connsiteX85" fmla="*/ 664829 w 2464405"/>
              <a:gd name="connsiteY85" fmla="*/ 1943875 h 2151152"/>
              <a:gd name="connsiteX86" fmla="*/ 675385 w 2464405"/>
              <a:gd name="connsiteY86" fmla="*/ 2019082 h 2151152"/>
              <a:gd name="connsiteX87" fmla="*/ 663094 w 2464405"/>
              <a:gd name="connsiteY87" fmla="*/ 2020807 h 2151152"/>
              <a:gd name="connsiteX88" fmla="*/ 671338 w 2464405"/>
              <a:gd name="connsiteY88" fmla="*/ 2021837 h 2151152"/>
              <a:gd name="connsiteX89" fmla="*/ 669403 w 2464405"/>
              <a:gd name="connsiteY89" fmla="*/ 2037327 h 2151152"/>
              <a:gd name="connsiteX90" fmla="*/ 653913 w 2464405"/>
              <a:gd name="connsiteY90" fmla="*/ 2035392 h 2151152"/>
              <a:gd name="connsiteX91" fmla="*/ 655604 w 2464405"/>
              <a:gd name="connsiteY91" fmla="*/ 2021859 h 2151152"/>
              <a:gd name="connsiteX92" fmla="*/ 558639 w 2464405"/>
              <a:gd name="connsiteY92" fmla="*/ 2035469 h 2151152"/>
              <a:gd name="connsiteX93" fmla="*/ 545327 w 2464405"/>
              <a:gd name="connsiteY93" fmla="*/ 1940626 h 2151152"/>
              <a:gd name="connsiteX94" fmla="*/ 501419 w 2464405"/>
              <a:gd name="connsiteY94" fmla="*/ 1930052 h 2151152"/>
              <a:gd name="connsiteX95" fmla="*/ 513237 w 2464405"/>
              <a:gd name="connsiteY95" fmla="*/ 1880979 h 2151152"/>
              <a:gd name="connsiteX96" fmla="*/ 562310 w 2464405"/>
              <a:gd name="connsiteY96" fmla="*/ 1892797 h 2151152"/>
              <a:gd name="connsiteX97" fmla="*/ 556550 w 2464405"/>
              <a:gd name="connsiteY97" fmla="*/ 1916715 h 2151152"/>
              <a:gd name="connsiteX98" fmla="*/ 606913 w 2464405"/>
              <a:gd name="connsiteY98" fmla="*/ 1909646 h 2151152"/>
              <a:gd name="connsiteX99" fmla="*/ 746444 w 2464405"/>
              <a:gd name="connsiteY99" fmla="*/ 1814318 h 2151152"/>
              <a:gd name="connsiteX100" fmla="*/ 760131 w 2464405"/>
              <a:gd name="connsiteY100" fmla="*/ 1815470 h 2151152"/>
              <a:gd name="connsiteX101" fmla="*/ 758979 w 2464405"/>
              <a:gd name="connsiteY101" fmla="*/ 1829158 h 2151152"/>
              <a:gd name="connsiteX102" fmla="*/ 745292 w 2464405"/>
              <a:gd name="connsiteY102" fmla="*/ 1828006 h 2151152"/>
              <a:gd name="connsiteX103" fmla="*/ 566174 w 2464405"/>
              <a:gd name="connsiteY103" fmla="*/ 1804149 h 2151152"/>
              <a:gd name="connsiteX104" fmla="*/ 568120 w 2464405"/>
              <a:gd name="connsiteY104" fmla="*/ 1816506 h 2151152"/>
              <a:gd name="connsiteX105" fmla="*/ 555764 w 2464405"/>
              <a:gd name="connsiteY105" fmla="*/ 1818452 h 2151152"/>
              <a:gd name="connsiteX106" fmla="*/ 553818 w 2464405"/>
              <a:gd name="connsiteY106" fmla="*/ 1806095 h 2151152"/>
              <a:gd name="connsiteX107" fmla="*/ 1540788 w 2464405"/>
              <a:gd name="connsiteY107" fmla="*/ 1783013 h 2151152"/>
              <a:gd name="connsiteX108" fmla="*/ 1519110 w 2464405"/>
              <a:gd name="connsiteY108" fmla="*/ 1783342 h 2151152"/>
              <a:gd name="connsiteX109" fmla="*/ 1524347 w 2464405"/>
              <a:gd name="connsiteY109" fmla="*/ 1793953 h 2151152"/>
              <a:gd name="connsiteX110" fmla="*/ 1674925 w 2464405"/>
              <a:gd name="connsiteY110" fmla="*/ 1746674 h 2151152"/>
              <a:gd name="connsiteX111" fmla="*/ 1685749 w 2464405"/>
              <a:gd name="connsiteY111" fmla="*/ 1753343 h 2151152"/>
              <a:gd name="connsiteX112" fmla="*/ 1679080 w 2464405"/>
              <a:gd name="connsiteY112" fmla="*/ 1764165 h 2151152"/>
              <a:gd name="connsiteX113" fmla="*/ 1668257 w 2464405"/>
              <a:gd name="connsiteY113" fmla="*/ 1757496 h 2151152"/>
              <a:gd name="connsiteX114" fmla="*/ 1245271 w 2464405"/>
              <a:gd name="connsiteY114" fmla="*/ 1740131 h 2151152"/>
              <a:gd name="connsiteX115" fmla="*/ 1269984 w 2464405"/>
              <a:gd name="connsiteY115" fmla="*/ 1805739 h 2151152"/>
              <a:gd name="connsiteX116" fmla="*/ 1204376 w 2464405"/>
              <a:gd name="connsiteY116" fmla="*/ 1830452 h 2151152"/>
              <a:gd name="connsiteX117" fmla="*/ 1179663 w 2464405"/>
              <a:gd name="connsiteY117" fmla="*/ 1764844 h 2151152"/>
              <a:gd name="connsiteX118" fmla="*/ 1311004 w 2464405"/>
              <a:gd name="connsiteY118" fmla="*/ 1733028 h 2151152"/>
              <a:gd name="connsiteX119" fmla="*/ 1382405 w 2464405"/>
              <a:gd name="connsiteY119" fmla="*/ 1749040 h 2151152"/>
              <a:gd name="connsiteX120" fmla="*/ 1366392 w 2464405"/>
              <a:gd name="connsiteY120" fmla="*/ 1820442 h 2151152"/>
              <a:gd name="connsiteX121" fmla="*/ 1294992 w 2464405"/>
              <a:gd name="connsiteY121" fmla="*/ 1804430 h 2151152"/>
              <a:gd name="connsiteX122" fmla="*/ 154450 w 2464405"/>
              <a:gd name="connsiteY122" fmla="*/ 1728630 h 2151152"/>
              <a:gd name="connsiteX123" fmla="*/ 218025 w 2464405"/>
              <a:gd name="connsiteY123" fmla="*/ 1778568 h 2151152"/>
              <a:gd name="connsiteX124" fmla="*/ 168087 w 2464405"/>
              <a:gd name="connsiteY124" fmla="*/ 1842143 h 2151152"/>
              <a:gd name="connsiteX125" fmla="*/ 104512 w 2464405"/>
              <a:gd name="connsiteY125" fmla="*/ 1792205 h 2151152"/>
              <a:gd name="connsiteX126" fmla="*/ 1559563 w 2464405"/>
              <a:gd name="connsiteY126" fmla="*/ 1718100 h 2151152"/>
              <a:gd name="connsiteX127" fmla="*/ 1560351 w 2464405"/>
              <a:gd name="connsiteY127" fmla="*/ 1769995 h 2151152"/>
              <a:gd name="connsiteX128" fmla="*/ 1592655 w 2464405"/>
              <a:gd name="connsiteY128" fmla="*/ 1748500 h 2151152"/>
              <a:gd name="connsiteX129" fmla="*/ 1640329 w 2464405"/>
              <a:gd name="connsiteY129" fmla="*/ 1820146 h 2151152"/>
              <a:gd name="connsiteX130" fmla="*/ 1568683 w 2464405"/>
              <a:gd name="connsiteY130" fmla="*/ 1867820 h 2151152"/>
              <a:gd name="connsiteX131" fmla="*/ 1538180 w 2464405"/>
              <a:gd name="connsiteY131" fmla="*/ 1821978 h 2151152"/>
              <a:gd name="connsiteX132" fmla="*/ 1543955 w 2464405"/>
              <a:gd name="connsiteY132" fmla="*/ 1833680 h 2151152"/>
              <a:gd name="connsiteX133" fmla="*/ 1461742 w 2464405"/>
              <a:gd name="connsiteY133" fmla="*/ 1874258 h 2151152"/>
              <a:gd name="connsiteX134" fmla="*/ 1433551 w 2464405"/>
              <a:gd name="connsiteY134" fmla="*/ 1817142 h 2151152"/>
              <a:gd name="connsiteX135" fmla="*/ 1396402 w 2464405"/>
              <a:gd name="connsiteY135" fmla="*/ 1816078 h 2151152"/>
              <a:gd name="connsiteX136" fmla="*/ 1398229 w 2464405"/>
              <a:gd name="connsiteY136" fmla="*/ 1752268 h 2151152"/>
              <a:gd name="connsiteX137" fmla="*/ 1462039 w 2464405"/>
              <a:gd name="connsiteY137" fmla="*/ 1754095 h 2151152"/>
              <a:gd name="connsiteX138" fmla="*/ 1461523 w 2464405"/>
              <a:gd name="connsiteY138" fmla="*/ 1772125 h 2151152"/>
              <a:gd name="connsiteX139" fmla="*/ 1495502 w 2464405"/>
              <a:gd name="connsiteY139" fmla="*/ 1755354 h 2151152"/>
              <a:gd name="connsiteX140" fmla="*/ 1494951 w 2464405"/>
              <a:gd name="connsiteY140" fmla="*/ 1719081 h 2151152"/>
              <a:gd name="connsiteX141" fmla="*/ 374352 w 2464405"/>
              <a:gd name="connsiteY141" fmla="*/ 1712315 h 2151152"/>
              <a:gd name="connsiteX142" fmla="*/ 428961 w 2464405"/>
              <a:gd name="connsiteY142" fmla="*/ 1827946 h 2151152"/>
              <a:gd name="connsiteX143" fmla="*/ 313330 w 2464405"/>
              <a:gd name="connsiteY143" fmla="*/ 1882555 h 2151152"/>
              <a:gd name="connsiteX144" fmla="*/ 258721 w 2464405"/>
              <a:gd name="connsiteY144" fmla="*/ 1766924 h 2151152"/>
              <a:gd name="connsiteX145" fmla="*/ 1379553 w 2464405"/>
              <a:gd name="connsiteY145" fmla="*/ 1694479 h 2151152"/>
              <a:gd name="connsiteX146" fmla="*/ 1388280 w 2464405"/>
              <a:gd name="connsiteY146" fmla="*/ 1703007 h 2151152"/>
              <a:gd name="connsiteX147" fmla="*/ 1379752 w 2464405"/>
              <a:gd name="connsiteY147" fmla="*/ 1711734 h 2151152"/>
              <a:gd name="connsiteX148" fmla="*/ 1371025 w 2464405"/>
              <a:gd name="connsiteY148" fmla="*/ 1703206 h 2151152"/>
              <a:gd name="connsiteX149" fmla="*/ 1213302 w 2464405"/>
              <a:gd name="connsiteY149" fmla="*/ 1684889 h 2151152"/>
              <a:gd name="connsiteX150" fmla="*/ 1216187 w 2464405"/>
              <a:gd name="connsiteY150" fmla="*/ 1689111 h 2151152"/>
              <a:gd name="connsiteX151" fmla="*/ 1211965 w 2464405"/>
              <a:gd name="connsiteY151" fmla="*/ 1691995 h 2151152"/>
              <a:gd name="connsiteX152" fmla="*/ 1209081 w 2464405"/>
              <a:gd name="connsiteY152" fmla="*/ 1687773 h 2151152"/>
              <a:gd name="connsiteX153" fmla="*/ 1046408 w 2464405"/>
              <a:gd name="connsiteY153" fmla="*/ 1680220 h 2151152"/>
              <a:gd name="connsiteX154" fmla="*/ 1135718 w 2464405"/>
              <a:gd name="connsiteY154" fmla="*/ 1723587 h 2151152"/>
              <a:gd name="connsiteX155" fmla="*/ 1109229 w 2464405"/>
              <a:gd name="connsiteY155" fmla="*/ 1778138 h 2151152"/>
              <a:gd name="connsiteX156" fmla="*/ 1178950 w 2464405"/>
              <a:gd name="connsiteY156" fmla="*/ 1801623 h 2151152"/>
              <a:gd name="connsiteX157" fmla="*/ 1151141 w 2464405"/>
              <a:gd name="connsiteY157" fmla="*/ 1884181 h 2151152"/>
              <a:gd name="connsiteX158" fmla="*/ 1189176 w 2464405"/>
              <a:gd name="connsiteY158" fmla="*/ 1896290 h 2151152"/>
              <a:gd name="connsiteX159" fmla="*/ 1173356 w 2464405"/>
              <a:gd name="connsiteY159" fmla="*/ 1945979 h 2151152"/>
              <a:gd name="connsiteX160" fmla="*/ 1123668 w 2464405"/>
              <a:gd name="connsiteY160" fmla="*/ 1930159 h 2151152"/>
              <a:gd name="connsiteX161" fmla="*/ 1135535 w 2464405"/>
              <a:gd name="connsiteY161" fmla="*/ 1892884 h 2151152"/>
              <a:gd name="connsiteX162" fmla="*/ 1051823 w 2464405"/>
              <a:gd name="connsiteY162" fmla="*/ 1864686 h 2151152"/>
              <a:gd name="connsiteX163" fmla="*/ 1072513 w 2464405"/>
              <a:gd name="connsiteY163" fmla="*/ 1803264 h 2151152"/>
              <a:gd name="connsiteX164" fmla="*/ 1007548 w 2464405"/>
              <a:gd name="connsiteY164" fmla="*/ 1771718 h 2151152"/>
              <a:gd name="connsiteX165" fmla="*/ 1028197 w 2464405"/>
              <a:gd name="connsiteY165" fmla="*/ 1833019 h 2151152"/>
              <a:gd name="connsiteX166" fmla="*/ 951298 w 2464405"/>
              <a:gd name="connsiteY166" fmla="*/ 1858922 h 2151152"/>
              <a:gd name="connsiteX167" fmla="*/ 939149 w 2464405"/>
              <a:gd name="connsiteY167" fmla="*/ 1822852 h 2151152"/>
              <a:gd name="connsiteX168" fmla="*/ 858824 w 2464405"/>
              <a:gd name="connsiteY168" fmla="*/ 1897104 h 2151152"/>
              <a:gd name="connsiteX169" fmla="*/ 773711 w 2464405"/>
              <a:gd name="connsiteY169" fmla="*/ 1805028 h 2151152"/>
              <a:gd name="connsiteX170" fmla="*/ 865787 w 2464405"/>
              <a:gd name="connsiteY170" fmla="*/ 1719914 h 2151152"/>
              <a:gd name="connsiteX171" fmla="*/ 926656 w 2464405"/>
              <a:gd name="connsiteY171" fmla="*/ 1785762 h 2151152"/>
              <a:gd name="connsiteX172" fmla="*/ 925396 w 2464405"/>
              <a:gd name="connsiteY172" fmla="*/ 1782023 h 2151152"/>
              <a:gd name="connsiteX173" fmla="*/ 1002294 w 2464405"/>
              <a:gd name="connsiteY173" fmla="*/ 1756120 h 2151152"/>
              <a:gd name="connsiteX174" fmla="*/ 1005267 w 2464405"/>
              <a:gd name="connsiteY174" fmla="*/ 1764947 h 2151152"/>
              <a:gd name="connsiteX175" fmla="*/ 1469396 w 2464405"/>
              <a:gd name="connsiteY175" fmla="*/ 1660405 h 2151152"/>
              <a:gd name="connsiteX176" fmla="*/ 1498736 w 2464405"/>
              <a:gd name="connsiteY176" fmla="*/ 1683526 h 2151152"/>
              <a:gd name="connsiteX177" fmla="*/ 1475615 w 2464405"/>
              <a:gd name="connsiteY177" fmla="*/ 1712866 h 2151152"/>
              <a:gd name="connsiteX178" fmla="*/ 1446275 w 2464405"/>
              <a:gd name="connsiteY178" fmla="*/ 1689745 h 2151152"/>
              <a:gd name="connsiteX179" fmla="*/ 1562094 w 2464405"/>
              <a:gd name="connsiteY179" fmla="*/ 1637991 h 2151152"/>
              <a:gd name="connsiteX180" fmla="*/ 1563213 w 2464405"/>
              <a:gd name="connsiteY180" fmla="*/ 1646506 h 2151152"/>
              <a:gd name="connsiteX181" fmla="*/ 1554697 w 2464405"/>
              <a:gd name="connsiteY181" fmla="*/ 1647625 h 2151152"/>
              <a:gd name="connsiteX182" fmla="*/ 1553579 w 2464405"/>
              <a:gd name="connsiteY182" fmla="*/ 1639109 h 2151152"/>
              <a:gd name="connsiteX183" fmla="*/ 1314629 w 2464405"/>
              <a:gd name="connsiteY183" fmla="*/ 1629416 h 2151152"/>
              <a:gd name="connsiteX184" fmla="*/ 1330429 w 2464405"/>
              <a:gd name="connsiteY184" fmla="*/ 1665359 h 2151152"/>
              <a:gd name="connsiteX185" fmla="*/ 1294486 w 2464405"/>
              <a:gd name="connsiteY185" fmla="*/ 1681160 h 2151152"/>
              <a:gd name="connsiteX186" fmla="*/ 1286477 w 2464405"/>
              <a:gd name="connsiteY186" fmla="*/ 1662942 h 2151152"/>
              <a:gd name="connsiteX187" fmla="*/ 1290305 w 2464405"/>
              <a:gd name="connsiteY187" fmla="*/ 1717622 h 2151152"/>
              <a:gd name="connsiteX188" fmla="*/ 1221937 w 2464405"/>
              <a:gd name="connsiteY188" fmla="*/ 1722408 h 2151152"/>
              <a:gd name="connsiteX189" fmla="*/ 1217151 w 2464405"/>
              <a:gd name="connsiteY189" fmla="*/ 1654040 h 2151152"/>
              <a:gd name="connsiteX190" fmla="*/ 1280611 w 2464405"/>
              <a:gd name="connsiteY190" fmla="*/ 1649597 h 2151152"/>
              <a:gd name="connsiteX191" fmla="*/ 1278685 w 2464405"/>
              <a:gd name="connsiteY191" fmla="*/ 1645216 h 2151152"/>
              <a:gd name="connsiteX192" fmla="*/ 1813095 w 2464405"/>
              <a:gd name="connsiteY192" fmla="*/ 1615343 h 2151152"/>
              <a:gd name="connsiteX193" fmla="*/ 1818358 w 2464405"/>
              <a:gd name="connsiteY193" fmla="*/ 1624779 h 2151152"/>
              <a:gd name="connsiteX194" fmla="*/ 1808922 w 2464405"/>
              <a:gd name="connsiteY194" fmla="*/ 1630042 h 2151152"/>
              <a:gd name="connsiteX195" fmla="*/ 1803660 w 2464405"/>
              <a:gd name="connsiteY195" fmla="*/ 1620606 h 2151152"/>
              <a:gd name="connsiteX196" fmla="*/ 1535500 w 2464405"/>
              <a:gd name="connsiteY196" fmla="*/ 1603635 h 2151152"/>
              <a:gd name="connsiteX197" fmla="*/ 1555046 w 2464405"/>
              <a:gd name="connsiteY197" fmla="*/ 1613088 h 2151152"/>
              <a:gd name="connsiteX198" fmla="*/ 1545593 w 2464405"/>
              <a:gd name="connsiteY198" fmla="*/ 1632632 h 2151152"/>
              <a:gd name="connsiteX199" fmla="*/ 1526048 w 2464405"/>
              <a:gd name="connsiteY199" fmla="*/ 1623179 h 2151152"/>
              <a:gd name="connsiteX200" fmla="*/ 1429876 w 2464405"/>
              <a:gd name="connsiteY200" fmla="*/ 1524125 h 2151152"/>
              <a:gd name="connsiteX201" fmla="*/ 1457551 w 2464405"/>
              <a:gd name="connsiteY201" fmla="*/ 1612707 h 2151152"/>
              <a:gd name="connsiteX202" fmla="*/ 1368968 w 2464405"/>
              <a:gd name="connsiteY202" fmla="*/ 1640383 h 2151152"/>
              <a:gd name="connsiteX203" fmla="*/ 1341293 w 2464405"/>
              <a:gd name="connsiteY203" fmla="*/ 1551800 h 2151152"/>
              <a:gd name="connsiteX204" fmla="*/ 1506014 w 2464405"/>
              <a:gd name="connsiteY204" fmla="*/ 1511672 h 2151152"/>
              <a:gd name="connsiteX205" fmla="*/ 1547641 w 2464405"/>
              <a:gd name="connsiteY205" fmla="*/ 1573368 h 2151152"/>
              <a:gd name="connsiteX206" fmla="*/ 1485944 w 2464405"/>
              <a:gd name="connsiteY206" fmla="*/ 1614995 h 2151152"/>
              <a:gd name="connsiteX207" fmla="*/ 1444318 w 2464405"/>
              <a:gd name="connsiteY207" fmla="*/ 1553298 h 2151152"/>
              <a:gd name="connsiteX208" fmla="*/ 1625937 w 2464405"/>
              <a:gd name="connsiteY208" fmla="*/ 1480057 h 2151152"/>
              <a:gd name="connsiteX209" fmla="*/ 1636030 w 2464405"/>
              <a:gd name="connsiteY209" fmla="*/ 1485819 h 2151152"/>
              <a:gd name="connsiteX210" fmla="*/ 1630269 w 2464405"/>
              <a:gd name="connsiteY210" fmla="*/ 1495912 h 2151152"/>
              <a:gd name="connsiteX211" fmla="*/ 1620175 w 2464405"/>
              <a:gd name="connsiteY211" fmla="*/ 1490150 h 2151152"/>
              <a:gd name="connsiteX212" fmla="*/ 1562081 w 2464405"/>
              <a:gd name="connsiteY212" fmla="*/ 1439942 h 2151152"/>
              <a:gd name="connsiteX213" fmla="*/ 1594495 w 2464405"/>
              <a:gd name="connsiteY213" fmla="*/ 1501684 h 2151152"/>
              <a:gd name="connsiteX214" fmla="*/ 1532755 w 2464405"/>
              <a:gd name="connsiteY214" fmla="*/ 1534098 h 2151152"/>
              <a:gd name="connsiteX215" fmla="*/ 1500340 w 2464405"/>
              <a:gd name="connsiteY215" fmla="*/ 1472357 h 2151152"/>
              <a:gd name="connsiteX216" fmla="*/ 1733481 w 2464405"/>
              <a:gd name="connsiteY216" fmla="*/ 1427471 h 2151152"/>
              <a:gd name="connsiteX217" fmla="*/ 1735752 w 2464405"/>
              <a:gd name="connsiteY217" fmla="*/ 1435082 h 2151152"/>
              <a:gd name="connsiteX218" fmla="*/ 1728142 w 2464405"/>
              <a:gd name="connsiteY218" fmla="*/ 1437352 h 2151152"/>
              <a:gd name="connsiteX219" fmla="*/ 1725872 w 2464405"/>
              <a:gd name="connsiteY219" fmla="*/ 1429741 h 2151152"/>
              <a:gd name="connsiteX220" fmla="*/ 1897549 w 2464405"/>
              <a:gd name="connsiteY220" fmla="*/ 1424228 h 2151152"/>
              <a:gd name="connsiteX221" fmla="*/ 1890662 w 2464405"/>
              <a:gd name="connsiteY221" fmla="*/ 1424447 h 2151152"/>
              <a:gd name="connsiteX222" fmla="*/ 1890976 w 2464405"/>
              <a:gd name="connsiteY222" fmla="*/ 1427676 h 2151152"/>
              <a:gd name="connsiteX223" fmla="*/ 1898078 w 2464405"/>
              <a:gd name="connsiteY223" fmla="*/ 1425659 h 2151152"/>
              <a:gd name="connsiteX224" fmla="*/ 2006056 w 2464405"/>
              <a:gd name="connsiteY224" fmla="*/ 1420761 h 2151152"/>
              <a:gd name="connsiteX225" fmla="*/ 2016378 w 2464405"/>
              <a:gd name="connsiteY225" fmla="*/ 1426875 h 2151152"/>
              <a:gd name="connsiteX226" fmla="*/ 2010264 w 2464405"/>
              <a:gd name="connsiteY226" fmla="*/ 1437198 h 2151152"/>
              <a:gd name="connsiteX227" fmla="*/ 1999942 w 2464405"/>
              <a:gd name="connsiteY227" fmla="*/ 1431083 h 2151152"/>
              <a:gd name="connsiteX228" fmla="*/ 1647052 w 2464405"/>
              <a:gd name="connsiteY228" fmla="*/ 1385041 h 2151152"/>
              <a:gd name="connsiteX229" fmla="*/ 1662282 w 2464405"/>
              <a:gd name="connsiteY229" fmla="*/ 1390116 h 2151152"/>
              <a:gd name="connsiteX230" fmla="*/ 1657207 w 2464405"/>
              <a:gd name="connsiteY230" fmla="*/ 1405346 h 2151152"/>
              <a:gd name="connsiteX231" fmla="*/ 1641977 w 2464405"/>
              <a:gd name="connsiteY231" fmla="*/ 1400271 h 2151152"/>
              <a:gd name="connsiteX232" fmla="*/ 2059349 w 2464405"/>
              <a:gd name="connsiteY232" fmla="*/ 1344302 h 2151152"/>
              <a:gd name="connsiteX233" fmla="*/ 2061250 w 2464405"/>
              <a:gd name="connsiteY233" fmla="*/ 1360860 h 2151152"/>
              <a:gd name="connsiteX234" fmla="*/ 2044692 w 2464405"/>
              <a:gd name="connsiteY234" fmla="*/ 1362761 h 2151152"/>
              <a:gd name="connsiteX235" fmla="*/ 2042790 w 2464405"/>
              <a:gd name="connsiteY235" fmla="*/ 1346203 h 2151152"/>
              <a:gd name="connsiteX236" fmla="*/ 1714726 w 2464405"/>
              <a:gd name="connsiteY236" fmla="*/ 1328745 h 2151152"/>
              <a:gd name="connsiteX237" fmla="*/ 1715410 w 2464405"/>
              <a:gd name="connsiteY237" fmla="*/ 1337818 h 2151152"/>
              <a:gd name="connsiteX238" fmla="*/ 1706336 w 2464405"/>
              <a:gd name="connsiteY238" fmla="*/ 1338502 h 2151152"/>
              <a:gd name="connsiteX239" fmla="*/ 1705652 w 2464405"/>
              <a:gd name="connsiteY239" fmla="*/ 1329429 h 2151152"/>
              <a:gd name="connsiteX240" fmla="*/ 1979123 w 2464405"/>
              <a:gd name="connsiteY240" fmla="*/ 1189350 h 2151152"/>
              <a:gd name="connsiteX241" fmla="*/ 1946000 w 2464405"/>
              <a:gd name="connsiteY241" fmla="*/ 1209363 h 2151152"/>
              <a:gd name="connsiteX242" fmla="*/ 1972788 w 2464405"/>
              <a:gd name="connsiteY242" fmla="*/ 1228732 h 2151152"/>
              <a:gd name="connsiteX243" fmla="*/ 1982623 w 2464405"/>
              <a:gd name="connsiteY243" fmla="*/ 1194342 h 2151152"/>
              <a:gd name="connsiteX244" fmla="*/ 2155208 w 2464405"/>
              <a:gd name="connsiteY244" fmla="*/ 1169395 h 2151152"/>
              <a:gd name="connsiteX245" fmla="*/ 2177887 w 2464405"/>
              <a:gd name="connsiteY245" fmla="*/ 1175474 h 2151152"/>
              <a:gd name="connsiteX246" fmla="*/ 2171808 w 2464405"/>
              <a:gd name="connsiteY246" fmla="*/ 1198153 h 2151152"/>
              <a:gd name="connsiteX247" fmla="*/ 2149129 w 2464405"/>
              <a:gd name="connsiteY247" fmla="*/ 1192075 h 2151152"/>
              <a:gd name="connsiteX248" fmla="*/ 2152878 w 2464405"/>
              <a:gd name="connsiteY248" fmla="*/ 1104089 h 2151152"/>
              <a:gd name="connsiteX249" fmla="*/ 2168423 w 2464405"/>
              <a:gd name="connsiteY249" fmla="*/ 1110646 h 2151152"/>
              <a:gd name="connsiteX250" fmla="*/ 2161866 w 2464405"/>
              <a:gd name="connsiteY250" fmla="*/ 1126191 h 2151152"/>
              <a:gd name="connsiteX251" fmla="*/ 2146322 w 2464405"/>
              <a:gd name="connsiteY251" fmla="*/ 1119634 h 2151152"/>
              <a:gd name="connsiteX252" fmla="*/ 2073538 w 2464405"/>
              <a:gd name="connsiteY252" fmla="*/ 1045242 h 2151152"/>
              <a:gd name="connsiteX253" fmla="*/ 2087771 w 2464405"/>
              <a:gd name="connsiteY253" fmla="*/ 1048442 h 2151152"/>
              <a:gd name="connsiteX254" fmla="*/ 2084571 w 2464405"/>
              <a:gd name="connsiteY254" fmla="*/ 1062675 h 2151152"/>
              <a:gd name="connsiteX255" fmla="*/ 2070338 w 2464405"/>
              <a:gd name="connsiteY255" fmla="*/ 1059475 h 2151152"/>
              <a:gd name="connsiteX256" fmla="*/ 1985220 w 2464405"/>
              <a:gd name="connsiteY256" fmla="*/ 1022635 h 2151152"/>
              <a:gd name="connsiteX257" fmla="*/ 1985862 w 2464405"/>
              <a:gd name="connsiteY257" fmla="*/ 1023697 h 2151152"/>
              <a:gd name="connsiteX258" fmla="*/ 1987231 w 2464405"/>
              <a:gd name="connsiteY258" fmla="*/ 1022814 h 2151152"/>
              <a:gd name="connsiteX259" fmla="*/ 1916635 w 2464405"/>
              <a:gd name="connsiteY259" fmla="*/ 994154 h 2151152"/>
              <a:gd name="connsiteX260" fmla="*/ 1928422 w 2464405"/>
              <a:gd name="connsiteY260" fmla="*/ 1002033 h 2151152"/>
              <a:gd name="connsiteX261" fmla="*/ 1920543 w 2464405"/>
              <a:gd name="connsiteY261" fmla="*/ 1013821 h 2151152"/>
              <a:gd name="connsiteX262" fmla="*/ 1908756 w 2464405"/>
              <a:gd name="connsiteY262" fmla="*/ 1005942 h 2151152"/>
              <a:gd name="connsiteX263" fmla="*/ 2050316 w 2464405"/>
              <a:gd name="connsiteY263" fmla="*/ 969301 h 2151152"/>
              <a:gd name="connsiteX264" fmla="*/ 2056644 w 2464405"/>
              <a:gd name="connsiteY264" fmla="*/ 975056 h 2151152"/>
              <a:gd name="connsiteX265" fmla="*/ 2050888 w 2464405"/>
              <a:gd name="connsiteY265" fmla="*/ 981384 h 2151152"/>
              <a:gd name="connsiteX266" fmla="*/ 2044560 w 2464405"/>
              <a:gd name="connsiteY266" fmla="*/ 975628 h 2151152"/>
              <a:gd name="connsiteX267" fmla="*/ 1977407 w 2464405"/>
              <a:gd name="connsiteY267" fmla="*/ 899382 h 2151152"/>
              <a:gd name="connsiteX268" fmla="*/ 2013851 w 2464405"/>
              <a:gd name="connsiteY268" fmla="*/ 950626 h 2151152"/>
              <a:gd name="connsiteX269" fmla="*/ 1999840 w 2464405"/>
              <a:gd name="connsiteY269" fmla="*/ 960590 h 2151152"/>
              <a:gd name="connsiteX270" fmla="*/ 1994730 w 2464405"/>
              <a:gd name="connsiteY270" fmla="*/ 1017976 h 2151152"/>
              <a:gd name="connsiteX271" fmla="*/ 2000366 w 2464405"/>
              <a:gd name="connsiteY271" fmla="*/ 1014339 h 2151152"/>
              <a:gd name="connsiteX272" fmla="*/ 2030485 w 2464405"/>
              <a:gd name="connsiteY272" fmla="*/ 1061020 h 2151152"/>
              <a:gd name="connsiteX273" fmla="*/ 2014603 w 2464405"/>
              <a:gd name="connsiteY273" fmla="*/ 1071267 h 2151152"/>
              <a:gd name="connsiteX274" fmla="*/ 2051459 w 2464405"/>
              <a:gd name="connsiteY274" fmla="*/ 1132266 h 2151152"/>
              <a:gd name="connsiteX275" fmla="*/ 2074415 w 2464405"/>
              <a:gd name="connsiteY275" fmla="*/ 1116169 h 2151152"/>
              <a:gd name="connsiteX276" fmla="*/ 2102291 w 2464405"/>
              <a:gd name="connsiteY276" fmla="*/ 1155920 h 2151152"/>
              <a:gd name="connsiteX277" fmla="*/ 2141488 w 2464405"/>
              <a:gd name="connsiteY277" fmla="*/ 1167130 h 2151152"/>
              <a:gd name="connsiteX278" fmla="*/ 2132410 w 2464405"/>
              <a:gd name="connsiteY278" fmla="*/ 1198871 h 2151152"/>
              <a:gd name="connsiteX279" fmla="*/ 2143335 w 2464405"/>
              <a:gd name="connsiteY279" fmla="*/ 1214450 h 2151152"/>
              <a:gd name="connsiteX280" fmla="*/ 2124097 w 2464405"/>
              <a:gd name="connsiteY280" fmla="*/ 1227941 h 2151152"/>
              <a:gd name="connsiteX281" fmla="*/ 2110744 w 2464405"/>
              <a:gd name="connsiteY281" fmla="*/ 1274632 h 2151152"/>
              <a:gd name="connsiteX282" fmla="*/ 2116606 w 2464405"/>
              <a:gd name="connsiteY282" fmla="*/ 1277025 h 2151152"/>
              <a:gd name="connsiteX283" fmla="*/ 2112470 w 2464405"/>
              <a:gd name="connsiteY283" fmla="*/ 1287154 h 2151152"/>
              <a:gd name="connsiteX284" fmla="*/ 2107718 w 2464405"/>
              <a:gd name="connsiteY284" fmla="*/ 1285213 h 2151152"/>
              <a:gd name="connsiteX285" fmla="*/ 2101547 w 2464405"/>
              <a:gd name="connsiteY285" fmla="*/ 1306790 h 2151152"/>
              <a:gd name="connsiteX286" fmla="*/ 2064915 w 2464405"/>
              <a:gd name="connsiteY286" fmla="*/ 1296314 h 2151152"/>
              <a:gd name="connsiteX287" fmla="*/ 2067625 w 2464405"/>
              <a:gd name="connsiteY287" fmla="*/ 1335020 h 2151152"/>
              <a:gd name="connsiteX288" fmla="*/ 1999257 w 2464405"/>
              <a:gd name="connsiteY288" fmla="*/ 1339806 h 2151152"/>
              <a:gd name="connsiteX289" fmla="*/ 1998577 w 2464405"/>
              <a:gd name="connsiteY289" fmla="*/ 1330093 h 2151152"/>
              <a:gd name="connsiteX290" fmla="*/ 1983602 w 2464405"/>
              <a:gd name="connsiteY290" fmla="*/ 1333813 h 2151152"/>
              <a:gd name="connsiteX291" fmla="*/ 1975208 w 2464405"/>
              <a:gd name="connsiteY291" fmla="*/ 1345421 h 2151152"/>
              <a:gd name="connsiteX292" fmla="*/ 1996605 w 2464405"/>
              <a:gd name="connsiteY292" fmla="*/ 1403295 h 2151152"/>
              <a:gd name="connsiteX293" fmla="*/ 1987681 w 2464405"/>
              <a:gd name="connsiteY293" fmla="*/ 1406595 h 2151152"/>
              <a:gd name="connsiteX294" fmla="*/ 2019709 w 2464405"/>
              <a:gd name="connsiteY294" fmla="*/ 1519328 h 2151152"/>
              <a:gd name="connsiteX295" fmla="*/ 1915104 w 2464405"/>
              <a:gd name="connsiteY295" fmla="*/ 1549047 h 2151152"/>
              <a:gd name="connsiteX296" fmla="*/ 1916546 w 2464405"/>
              <a:gd name="connsiteY296" fmla="*/ 1552333 h 2151152"/>
              <a:gd name="connsiteX297" fmla="*/ 1906871 w 2464405"/>
              <a:gd name="connsiteY297" fmla="*/ 1556580 h 2151152"/>
              <a:gd name="connsiteX298" fmla="*/ 1904844 w 2464405"/>
              <a:gd name="connsiteY298" fmla="*/ 1551962 h 2151152"/>
              <a:gd name="connsiteX299" fmla="*/ 1903122 w 2464405"/>
              <a:gd name="connsiteY299" fmla="*/ 1552451 h 2151152"/>
              <a:gd name="connsiteX300" fmla="*/ 1903218 w 2464405"/>
              <a:gd name="connsiteY300" fmla="*/ 1553439 h 2151152"/>
              <a:gd name="connsiteX301" fmla="*/ 1835063 w 2464405"/>
              <a:gd name="connsiteY301" fmla="*/ 1560074 h 2151152"/>
              <a:gd name="connsiteX302" fmla="*/ 1839626 w 2464405"/>
              <a:gd name="connsiteY302" fmla="*/ 1564671 h 2151152"/>
              <a:gd name="connsiteX303" fmla="*/ 1832731 w 2464405"/>
              <a:gd name="connsiteY303" fmla="*/ 1571513 h 2151152"/>
              <a:gd name="connsiteX304" fmla="*/ 1825888 w 2464405"/>
              <a:gd name="connsiteY304" fmla="*/ 1564618 h 2151152"/>
              <a:gd name="connsiteX305" fmla="*/ 1829968 w 2464405"/>
              <a:gd name="connsiteY305" fmla="*/ 1560570 h 2151152"/>
              <a:gd name="connsiteX306" fmla="*/ 1770292 w 2464405"/>
              <a:gd name="connsiteY306" fmla="*/ 1566379 h 2151152"/>
              <a:gd name="connsiteX307" fmla="*/ 1762109 w 2464405"/>
              <a:gd name="connsiteY307" fmla="*/ 1589410 h 2151152"/>
              <a:gd name="connsiteX308" fmla="*/ 1747732 w 2464405"/>
              <a:gd name="connsiteY308" fmla="*/ 1584302 h 2151152"/>
              <a:gd name="connsiteX309" fmla="*/ 1808749 w 2464405"/>
              <a:gd name="connsiteY309" fmla="*/ 1662908 h 2151152"/>
              <a:gd name="connsiteX310" fmla="*/ 1695080 w 2464405"/>
              <a:gd name="connsiteY310" fmla="*/ 1751142 h 2151152"/>
              <a:gd name="connsiteX311" fmla="*/ 1661861 w 2464405"/>
              <a:gd name="connsiteY311" fmla="*/ 1708347 h 2151152"/>
              <a:gd name="connsiteX312" fmla="*/ 1622244 w 2464405"/>
              <a:gd name="connsiteY312" fmla="*/ 1688543 h 2151152"/>
              <a:gd name="connsiteX313" fmla="*/ 1631741 w 2464405"/>
              <a:gd name="connsiteY313" fmla="*/ 1669545 h 2151152"/>
              <a:gd name="connsiteX314" fmla="*/ 1606846 w 2464405"/>
              <a:gd name="connsiteY314" fmla="*/ 1637473 h 2151152"/>
              <a:gd name="connsiteX315" fmla="*/ 1636454 w 2464405"/>
              <a:gd name="connsiteY315" fmla="*/ 1614490 h 2151152"/>
              <a:gd name="connsiteX316" fmla="*/ 1632684 w 2464405"/>
              <a:gd name="connsiteY316" fmla="*/ 1588772 h 2151152"/>
              <a:gd name="connsiteX317" fmla="*/ 1607440 w 2464405"/>
              <a:gd name="connsiteY317" fmla="*/ 1610348 h 2151152"/>
              <a:gd name="connsiteX318" fmla="*/ 1561779 w 2464405"/>
              <a:gd name="connsiteY318" fmla="*/ 1556924 h 2151152"/>
              <a:gd name="connsiteX319" fmla="*/ 1615202 w 2464405"/>
              <a:gd name="connsiteY319" fmla="*/ 1511264 h 2151152"/>
              <a:gd name="connsiteX320" fmla="*/ 1652291 w 2464405"/>
              <a:gd name="connsiteY320" fmla="*/ 1554659 h 2151152"/>
              <a:gd name="connsiteX321" fmla="*/ 1660791 w 2464405"/>
              <a:gd name="connsiteY321" fmla="*/ 1553413 h 2151152"/>
              <a:gd name="connsiteX322" fmla="*/ 1655132 w 2464405"/>
              <a:gd name="connsiteY322" fmla="*/ 1551402 h 2151152"/>
              <a:gd name="connsiteX323" fmla="*/ 1693141 w 2464405"/>
              <a:gd name="connsiteY323" fmla="*/ 1444425 h 2151152"/>
              <a:gd name="connsiteX324" fmla="*/ 1744711 w 2464405"/>
              <a:gd name="connsiteY324" fmla="*/ 1462748 h 2151152"/>
              <a:gd name="connsiteX325" fmla="*/ 1740511 w 2464405"/>
              <a:gd name="connsiteY325" fmla="*/ 1419600 h 2151152"/>
              <a:gd name="connsiteX326" fmla="*/ 1781455 w 2464405"/>
              <a:gd name="connsiteY326" fmla="*/ 1415614 h 2151152"/>
              <a:gd name="connsiteX327" fmla="*/ 1781295 w 2464405"/>
              <a:gd name="connsiteY327" fmla="*/ 1410565 h 2151152"/>
              <a:gd name="connsiteX328" fmla="*/ 1777540 w 2464405"/>
              <a:gd name="connsiteY328" fmla="*/ 1292393 h 2151152"/>
              <a:gd name="connsiteX329" fmla="*/ 1777289 w 2464405"/>
              <a:gd name="connsiteY329" fmla="*/ 1284484 h 2151152"/>
              <a:gd name="connsiteX330" fmla="*/ 1768205 w 2464405"/>
              <a:gd name="connsiteY330" fmla="*/ 1296596 h 2151152"/>
              <a:gd name="connsiteX331" fmla="*/ 1750345 w 2464405"/>
              <a:gd name="connsiteY331" fmla="*/ 1283202 h 2151152"/>
              <a:gd name="connsiteX332" fmla="*/ 1763740 w 2464405"/>
              <a:gd name="connsiteY332" fmla="*/ 1265343 h 2151152"/>
              <a:gd name="connsiteX333" fmla="*/ 1776996 w 2464405"/>
              <a:gd name="connsiteY333" fmla="*/ 1275285 h 2151152"/>
              <a:gd name="connsiteX334" fmla="*/ 1776989 w 2464405"/>
              <a:gd name="connsiteY334" fmla="*/ 1275053 h 2151152"/>
              <a:gd name="connsiteX335" fmla="*/ 1801826 w 2464405"/>
              <a:gd name="connsiteY335" fmla="*/ 1274264 h 2151152"/>
              <a:gd name="connsiteX336" fmla="*/ 1774986 w 2464405"/>
              <a:gd name="connsiteY336" fmla="*/ 1174515 h 2151152"/>
              <a:gd name="connsiteX337" fmla="*/ 1873976 w 2464405"/>
              <a:gd name="connsiteY337" fmla="*/ 1147879 h 2151152"/>
              <a:gd name="connsiteX338" fmla="*/ 1857499 w 2464405"/>
              <a:gd name="connsiteY338" fmla="*/ 1120608 h 2151152"/>
              <a:gd name="connsiteX339" fmla="*/ 1855325 w 2464405"/>
              <a:gd name="connsiteY339" fmla="*/ 1121694 h 2151152"/>
              <a:gd name="connsiteX340" fmla="*/ 1844048 w 2464405"/>
              <a:gd name="connsiteY340" fmla="*/ 1099136 h 2151152"/>
              <a:gd name="connsiteX341" fmla="*/ 1844415 w 2464405"/>
              <a:gd name="connsiteY341" fmla="*/ 1098952 h 2151152"/>
              <a:gd name="connsiteX342" fmla="*/ 1837719 w 2464405"/>
              <a:gd name="connsiteY342" fmla="*/ 1087870 h 2151152"/>
              <a:gd name="connsiteX343" fmla="*/ 1950769 w 2464405"/>
              <a:gd name="connsiteY343" fmla="*/ 1019566 h 2151152"/>
              <a:gd name="connsiteX344" fmla="*/ 1929335 w 2464405"/>
              <a:gd name="connsiteY344" fmla="*/ 1017657 h 2151152"/>
              <a:gd name="connsiteX345" fmla="*/ 1935116 w 2464405"/>
              <a:gd name="connsiteY345" fmla="*/ 952748 h 2151152"/>
              <a:gd name="connsiteX346" fmla="*/ 1938406 w 2464405"/>
              <a:gd name="connsiteY346" fmla="*/ 953041 h 2151152"/>
              <a:gd name="connsiteX347" fmla="*/ 1926163 w 2464405"/>
              <a:gd name="connsiteY347" fmla="*/ 935826 h 2151152"/>
              <a:gd name="connsiteX348" fmla="*/ 2036528 w 2464405"/>
              <a:gd name="connsiteY348" fmla="*/ 845583 h 2151152"/>
              <a:gd name="connsiteX349" fmla="*/ 2120501 w 2464405"/>
              <a:gd name="connsiteY349" fmla="*/ 861374 h 2151152"/>
              <a:gd name="connsiteX350" fmla="*/ 2104710 w 2464405"/>
              <a:gd name="connsiteY350" fmla="*/ 945347 h 2151152"/>
              <a:gd name="connsiteX351" fmla="*/ 2020737 w 2464405"/>
              <a:gd name="connsiteY351" fmla="*/ 929556 h 2151152"/>
              <a:gd name="connsiteX352" fmla="*/ 2183841 w 2464405"/>
              <a:gd name="connsiteY352" fmla="*/ 775823 h 2151152"/>
              <a:gd name="connsiteX353" fmla="*/ 2242299 w 2464405"/>
              <a:gd name="connsiteY353" fmla="*/ 803282 h 2151152"/>
              <a:gd name="connsiteX354" fmla="*/ 2233229 w 2464405"/>
              <a:gd name="connsiteY354" fmla="*/ 822592 h 2151152"/>
              <a:gd name="connsiteX355" fmla="*/ 2308224 w 2464405"/>
              <a:gd name="connsiteY355" fmla="*/ 826352 h 2151152"/>
              <a:gd name="connsiteX356" fmla="*/ 2299842 w 2464405"/>
              <a:gd name="connsiteY356" fmla="*/ 993554 h 2151152"/>
              <a:gd name="connsiteX357" fmla="*/ 2281893 w 2464405"/>
              <a:gd name="connsiteY357" fmla="*/ 992654 h 2151152"/>
              <a:gd name="connsiteX358" fmla="*/ 2223383 w 2464405"/>
              <a:gd name="connsiteY358" fmla="*/ 1003401 h 2151152"/>
              <a:gd name="connsiteX359" fmla="*/ 2285716 w 2464405"/>
              <a:gd name="connsiteY359" fmla="*/ 1046162 h 2151152"/>
              <a:gd name="connsiteX360" fmla="*/ 2233139 w 2464405"/>
              <a:gd name="connsiteY360" fmla="*/ 1122804 h 2151152"/>
              <a:gd name="connsiteX361" fmla="*/ 2156497 w 2464405"/>
              <a:gd name="connsiteY361" fmla="*/ 1070228 h 2151152"/>
              <a:gd name="connsiteX362" fmla="*/ 2199307 w 2464405"/>
              <a:gd name="connsiteY362" fmla="*/ 1007823 h 2151152"/>
              <a:gd name="connsiteX363" fmla="*/ 2185722 w 2464405"/>
              <a:gd name="connsiteY363" fmla="*/ 1010318 h 2151152"/>
              <a:gd name="connsiteX364" fmla="*/ 2181554 w 2464405"/>
              <a:gd name="connsiteY364" fmla="*/ 987624 h 2151152"/>
              <a:gd name="connsiteX365" fmla="*/ 2132640 w 2464405"/>
              <a:gd name="connsiteY365" fmla="*/ 985172 h 2151152"/>
              <a:gd name="connsiteX366" fmla="*/ 2136292 w 2464405"/>
              <a:gd name="connsiteY366" fmla="*/ 912324 h 2151152"/>
              <a:gd name="connsiteX367" fmla="*/ 2135490 w 2464405"/>
              <a:gd name="connsiteY367" fmla="*/ 912453 h 2151152"/>
              <a:gd name="connsiteX368" fmla="*/ 2133763 w 2464405"/>
              <a:gd name="connsiteY368" fmla="*/ 901753 h 2151152"/>
              <a:gd name="connsiteX369" fmla="*/ 2136847 w 2464405"/>
              <a:gd name="connsiteY369" fmla="*/ 901255 h 2151152"/>
              <a:gd name="connsiteX370" fmla="*/ 2141022 w 2464405"/>
              <a:gd name="connsiteY370" fmla="*/ 817970 h 2151152"/>
              <a:gd name="connsiteX371" fmla="*/ 2163514 w 2464405"/>
              <a:gd name="connsiteY371" fmla="*/ 819098 h 2151152"/>
              <a:gd name="connsiteX372" fmla="*/ 2321559 w 2464405"/>
              <a:gd name="connsiteY372" fmla="*/ 753240 h 2151152"/>
              <a:gd name="connsiteX373" fmla="*/ 2323559 w 2464405"/>
              <a:gd name="connsiteY373" fmla="*/ 766071 h 2151152"/>
              <a:gd name="connsiteX374" fmla="*/ 2310728 w 2464405"/>
              <a:gd name="connsiteY374" fmla="*/ 768071 h 2151152"/>
              <a:gd name="connsiteX375" fmla="*/ 2308728 w 2464405"/>
              <a:gd name="connsiteY375" fmla="*/ 755240 h 2151152"/>
              <a:gd name="connsiteX376" fmla="*/ 2194198 w 2464405"/>
              <a:gd name="connsiteY376" fmla="*/ 584306 h 2151152"/>
              <a:gd name="connsiteX377" fmla="*/ 2179809 w 2464405"/>
              <a:gd name="connsiteY377" fmla="*/ 591340 h 2151152"/>
              <a:gd name="connsiteX378" fmla="*/ 2180771 w 2464405"/>
              <a:gd name="connsiteY378" fmla="*/ 596706 h 2151152"/>
              <a:gd name="connsiteX379" fmla="*/ 2239121 w 2464405"/>
              <a:gd name="connsiteY379" fmla="*/ 481751 h 2151152"/>
              <a:gd name="connsiteX380" fmla="*/ 2229525 w 2464405"/>
              <a:gd name="connsiteY380" fmla="*/ 544460 h 2151152"/>
              <a:gd name="connsiteX381" fmla="*/ 2179253 w 2464405"/>
              <a:gd name="connsiteY381" fmla="*/ 536767 h 2151152"/>
              <a:gd name="connsiteX382" fmla="*/ 2199911 w 2464405"/>
              <a:gd name="connsiteY382" fmla="*/ 579031 h 2151152"/>
              <a:gd name="connsiteX383" fmla="*/ 2211541 w 2464405"/>
              <a:gd name="connsiteY383" fmla="*/ 568292 h 2151152"/>
              <a:gd name="connsiteX384" fmla="*/ 2219704 w 2464405"/>
              <a:gd name="connsiteY384" fmla="*/ 577132 h 2151152"/>
              <a:gd name="connsiteX385" fmla="*/ 2219801 w 2464405"/>
              <a:gd name="connsiteY385" fmla="*/ 575545 h 2151152"/>
              <a:gd name="connsiteX386" fmla="*/ 2241574 w 2464405"/>
              <a:gd name="connsiteY386" fmla="*/ 576873 h 2151152"/>
              <a:gd name="connsiteX387" fmla="*/ 2240841 w 2464405"/>
              <a:gd name="connsiteY387" fmla="*/ 588886 h 2151152"/>
              <a:gd name="connsiteX388" fmla="*/ 2254296 w 2464405"/>
              <a:gd name="connsiteY388" fmla="*/ 568611 h 2151152"/>
              <a:gd name="connsiteX389" fmla="*/ 2237990 w 2464405"/>
              <a:gd name="connsiteY389" fmla="*/ 568312 h 2151152"/>
              <a:gd name="connsiteX390" fmla="*/ 2239472 w 2464405"/>
              <a:gd name="connsiteY390" fmla="*/ 487414 h 2151152"/>
              <a:gd name="connsiteX391" fmla="*/ 2244796 w 2464405"/>
              <a:gd name="connsiteY391" fmla="*/ 487511 h 2151152"/>
              <a:gd name="connsiteX392" fmla="*/ 2253586 w 2464405"/>
              <a:gd name="connsiteY392" fmla="*/ 400178 h 2151152"/>
              <a:gd name="connsiteX393" fmla="*/ 2300992 w 2464405"/>
              <a:gd name="connsiteY393" fmla="*/ 448301 h 2151152"/>
              <a:gd name="connsiteX394" fmla="*/ 2260889 w 2464405"/>
              <a:gd name="connsiteY394" fmla="*/ 487806 h 2151152"/>
              <a:gd name="connsiteX395" fmla="*/ 2306837 w 2464405"/>
              <a:gd name="connsiteY395" fmla="*/ 488649 h 2151152"/>
              <a:gd name="connsiteX396" fmla="*/ 2346446 w 2464405"/>
              <a:gd name="connsiteY396" fmla="*/ 424264 h 2151152"/>
              <a:gd name="connsiteX397" fmla="*/ 2420411 w 2464405"/>
              <a:gd name="connsiteY397" fmla="*/ 469768 h 2151152"/>
              <a:gd name="connsiteX398" fmla="*/ 2385019 w 2464405"/>
              <a:gd name="connsiteY398" fmla="*/ 527297 h 2151152"/>
              <a:gd name="connsiteX399" fmla="*/ 2464405 w 2464405"/>
              <a:gd name="connsiteY399" fmla="*/ 579981 h 2151152"/>
              <a:gd name="connsiteX400" fmla="*/ 2375602 w 2464405"/>
              <a:gd name="connsiteY400" fmla="*/ 713792 h 2151152"/>
              <a:gd name="connsiteX401" fmla="*/ 2374770 w 2464405"/>
              <a:gd name="connsiteY401" fmla="*/ 743781 h 2151152"/>
              <a:gd name="connsiteX402" fmla="*/ 2280680 w 2464405"/>
              <a:gd name="connsiteY402" fmla="*/ 741169 h 2151152"/>
              <a:gd name="connsiteX403" fmla="*/ 2272146 w 2464405"/>
              <a:gd name="connsiteY403" fmla="*/ 747793 h 2151152"/>
              <a:gd name="connsiteX404" fmla="*/ 2266703 w 2464405"/>
              <a:gd name="connsiteY404" fmla="*/ 740781 h 2151152"/>
              <a:gd name="connsiteX405" fmla="*/ 2246158 w 2464405"/>
              <a:gd name="connsiteY405" fmla="*/ 740211 h 2151152"/>
              <a:gd name="connsiteX406" fmla="*/ 2246652 w 2464405"/>
              <a:gd name="connsiteY406" fmla="*/ 722406 h 2151152"/>
              <a:gd name="connsiteX407" fmla="*/ 2243776 w 2464405"/>
              <a:gd name="connsiteY407" fmla="*/ 725062 h 2151152"/>
              <a:gd name="connsiteX408" fmla="*/ 2247335 w 2464405"/>
              <a:gd name="connsiteY408" fmla="*/ 768441 h 2151152"/>
              <a:gd name="connsiteX409" fmla="*/ 2196178 w 2464405"/>
              <a:gd name="connsiteY409" fmla="*/ 772638 h 2151152"/>
              <a:gd name="connsiteX410" fmla="*/ 2194470 w 2464405"/>
              <a:gd name="connsiteY410" fmla="*/ 751812 h 2151152"/>
              <a:gd name="connsiteX411" fmla="*/ 2110857 w 2464405"/>
              <a:gd name="connsiteY411" fmla="*/ 661265 h 2151152"/>
              <a:gd name="connsiteX412" fmla="*/ 2123344 w 2464405"/>
              <a:gd name="connsiteY412" fmla="*/ 649735 h 2151152"/>
              <a:gd name="connsiteX413" fmla="*/ 2122625 w 2464405"/>
              <a:gd name="connsiteY413" fmla="*/ 648009 h 2151152"/>
              <a:gd name="connsiteX414" fmla="*/ 2127339 w 2464405"/>
              <a:gd name="connsiteY414" fmla="*/ 646045 h 2151152"/>
              <a:gd name="connsiteX415" fmla="*/ 2139098 w 2464405"/>
              <a:gd name="connsiteY415" fmla="*/ 635187 h 2151152"/>
              <a:gd name="connsiteX416" fmla="*/ 2086115 w 2464405"/>
              <a:gd name="connsiteY416" fmla="*/ 644682 h 2151152"/>
              <a:gd name="connsiteX417" fmla="*/ 2083176 w 2464405"/>
              <a:gd name="connsiteY417" fmla="*/ 656231 h 2151152"/>
              <a:gd name="connsiteX418" fmla="*/ 2063899 w 2464405"/>
              <a:gd name="connsiteY418" fmla="*/ 651324 h 2151152"/>
              <a:gd name="connsiteX419" fmla="*/ 2090616 w 2464405"/>
              <a:gd name="connsiteY419" fmla="*/ 703964 h 2151152"/>
              <a:gd name="connsiteX420" fmla="*/ 2060777 w 2464405"/>
              <a:gd name="connsiteY420" fmla="*/ 719109 h 2151152"/>
              <a:gd name="connsiteX421" fmla="*/ 2082657 w 2464405"/>
              <a:gd name="connsiteY421" fmla="*/ 761849 h 2151152"/>
              <a:gd name="connsiteX422" fmla="*/ 2100056 w 2464405"/>
              <a:gd name="connsiteY422" fmla="*/ 749410 h 2151152"/>
              <a:gd name="connsiteX423" fmla="*/ 2101022 w 2464405"/>
              <a:gd name="connsiteY423" fmla="*/ 741992 h 2151152"/>
              <a:gd name="connsiteX424" fmla="*/ 2108983 w 2464405"/>
              <a:gd name="connsiteY424" fmla="*/ 743029 h 2151152"/>
              <a:gd name="connsiteX425" fmla="*/ 2114799 w 2464405"/>
              <a:gd name="connsiteY425" fmla="*/ 738871 h 2151152"/>
              <a:gd name="connsiteX426" fmla="*/ 2159455 w 2464405"/>
              <a:gd name="connsiteY426" fmla="*/ 801338 h 2151152"/>
              <a:gd name="connsiteX427" fmla="*/ 2096988 w 2464405"/>
              <a:gd name="connsiteY427" fmla="*/ 845994 h 2151152"/>
              <a:gd name="connsiteX428" fmla="*/ 2075736 w 2464405"/>
              <a:gd name="connsiteY428" fmla="*/ 816266 h 2151152"/>
              <a:gd name="connsiteX429" fmla="*/ 2011806 w 2464405"/>
              <a:gd name="connsiteY429" fmla="*/ 848994 h 2151152"/>
              <a:gd name="connsiteX430" fmla="*/ 2014784 w 2464405"/>
              <a:gd name="connsiteY430" fmla="*/ 849643 h 2151152"/>
              <a:gd name="connsiteX431" fmla="*/ 2009691 w 2464405"/>
              <a:gd name="connsiteY431" fmla="*/ 873020 h 2151152"/>
              <a:gd name="connsiteX432" fmla="*/ 1986314 w 2464405"/>
              <a:gd name="connsiteY432" fmla="*/ 867927 h 2151152"/>
              <a:gd name="connsiteX433" fmla="*/ 1987756 w 2464405"/>
              <a:gd name="connsiteY433" fmla="*/ 861306 h 2151152"/>
              <a:gd name="connsiteX434" fmla="*/ 1981396 w 2464405"/>
              <a:gd name="connsiteY434" fmla="*/ 864562 h 2151152"/>
              <a:gd name="connsiteX435" fmla="*/ 1918991 w 2464405"/>
              <a:gd name="connsiteY435" fmla="*/ 742665 h 2151152"/>
              <a:gd name="connsiteX436" fmla="*/ 2000942 w 2464405"/>
              <a:gd name="connsiteY436" fmla="*/ 700710 h 2151152"/>
              <a:gd name="connsiteX437" fmla="*/ 1985100 w 2464405"/>
              <a:gd name="connsiteY437" fmla="*/ 669496 h 2151152"/>
              <a:gd name="connsiteX438" fmla="*/ 2035264 w 2464405"/>
              <a:gd name="connsiteY438" fmla="*/ 644036 h 2151152"/>
              <a:gd name="connsiteX439" fmla="*/ 2006020 w 2464405"/>
              <a:gd name="connsiteY439" fmla="*/ 636593 h 2151152"/>
              <a:gd name="connsiteX440" fmla="*/ 2025658 w 2464405"/>
              <a:gd name="connsiteY440" fmla="*/ 559436 h 2151152"/>
              <a:gd name="connsiteX441" fmla="*/ 2051605 w 2464405"/>
              <a:gd name="connsiteY441" fmla="*/ 566041 h 2151152"/>
              <a:gd name="connsiteX442" fmla="*/ 2030304 w 2464405"/>
              <a:gd name="connsiteY442" fmla="*/ 522464 h 2151152"/>
              <a:gd name="connsiteX443" fmla="*/ 2046866 w 2464405"/>
              <a:gd name="connsiteY443" fmla="*/ 514368 h 2151152"/>
              <a:gd name="connsiteX444" fmla="*/ 2039974 w 2464405"/>
              <a:gd name="connsiteY444" fmla="*/ 477758 h 2151152"/>
              <a:gd name="connsiteX445" fmla="*/ 2090685 w 2464405"/>
              <a:gd name="connsiteY445" fmla="*/ 468212 h 2151152"/>
              <a:gd name="connsiteX446" fmla="*/ 2094949 w 2464405"/>
              <a:gd name="connsiteY446" fmla="*/ 490865 h 2151152"/>
              <a:gd name="connsiteX447" fmla="*/ 2144884 w 2464405"/>
              <a:gd name="connsiteY447" fmla="*/ 466456 h 2151152"/>
              <a:gd name="connsiteX448" fmla="*/ 2147249 w 2464405"/>
              <a:gd name="connsiteY448" fmla="*/ 471295 h 2151152"/>
              <a:gd name="connsiteX449" fmla="*/ 2152168 w 2464405"/>
              <a:gd name="connsiteY449" fmla="*/ 439150 h 2151152"/>
              <a:gd name="connsiteX450" fmla="*/ 2205707 w 2464405"/>
              <a:gd name="connsiteY450" fmla="*/ 447343 h 2151152"/>
              <a:gd name="connsiteX451" fmla="*/ 2232299 w 2464405"/>
              <a:gd name="connsiteY451" fmla="*/ 393983 h 2151152"/>
              <a:gd name="connsiteX452" fmla="*/ 2233019 w 2464405"/>
              <a:gd name="connsiteY452" fmla="*/ 405582 h 2151152"/>
              <a:gd name="connsiteX453" fmla="*/ 2221419 w 2464405"/>
              <a:gd name="connsiteY453" fmla="*/ 406302 h 2151152"/>
              <a:gd name="connsiteX454" fmla="*/ 2220699 w 2464405"/>
              <a:gd name="connsiteY454" fmla="*/ 394702 h 2151152"/>
              <a:gd name="connsiteX455" fmla="*/ 2289412 w 2464405"/>
              <a:gd name="connsiteY455" fmla="*/ 170263 h 2151152"/>
              <a:gd name="connsiteX456" fmla="*/ 2302616 w 2464405"/>
              <a:gd name="connsiteY456" fmla="*/ 189093 h 2151152"/>
              <a:gd name="connsiteX457" fmla="*/ 2400832 w 2464405"/>
              <a:gd name="connsiteY457" fmla="*/ 209325 h 2151152"/>
              <a:gd name="connsiteX458" fmla="*/ 966418 w 2464405"/>
              <a:gd name="connsiteY458" fmla="*/ 68683 h 2151152"/>
              <a:gd name="connsiteX459" fmla="*/ 1395104 w 2464405"/>
              <a:gd name="connsiteY459" fmla="*/ 68683 h 2151152"/>
              <a:gd name="connsiteX460" fmla="*/ 1395104 w 2464405"/>
              <a:gd name="connsiteY460" fmla="*/ 497369 h 2151152"/>
              <a:gd name="connsiteX461" fmla="*/ 966418 w 2464405"/>
              <a:gd name="connsiteY461" fmla="*/ 497369 h 2151152"/>
              <a:gd name="connsiteX462" fmla="*/ 185253 w 2464405"/>
              <a:gd name="connsiteY462" fmla="*/ 68683 h 2151152"/>
              <a:gd name="connsiteX463" fmla="*/ 613939 w 2464405"/>
              <a:gd name="connsiteY463" fmla="*/ 68683 h 2151152"/>
              <a:gd name="connsiteX464" fmla="*/ 613939 w 2464405"/>
              <a:gd name="connsiteY464" fmla="*/ 497369 h 2151152"/>
              <a:gd name="connsiteX465" fmla="*/ 185253 w 2464405"/>
              <a:gd name="connsiteY465" fmla="*/ 497369 h 2151152"/>
              <a:gd name="connsiteX466" fmla="*/ 2133767 w 2464405"/>
              <a:gd name="connsiteY466" fmla="*/ 0 h 2151152"/>
              <a:gd name="connsiteX467" fmla="*/ 2249874 w 2464405"/>
              <a:gd name="connsiteY467" fmla="*/ 85289 h 2151152"/>
              <a:gd name="connsiteX468" fmla="*/ 2240349 w 2464405"/>
              <a:gd name="connsiteY468" fmla="*/ 98255 h 2151152"/>
              <a:gd name="connsiteX469" fmla="*/ 2278098 w 2464405"/>
              <a:gd name="connsiteY469" fmla="*/ 112655 h 2151152"/>
              <a:gd name="connsiteX470" fmla="*/ 2278233 w 2464405"/>
              <a:gd name="connsiteY470" fmla="*/ 112264 h 2151152"/>
              <a:gd name="connsiteX471" fmla="*/ 2289713 w 2464405"/>
              <a:gd name="connsiteY471" fmla="*/ 116242 h 2151152"/>
              <a:gd name="connsiteX472" fmla="*/ 2320444 w 2464405"/>
              <a:gd name="connsiteY472" fmla="*/ 28587 h 2151152"/>
              <a:gd name="connsiteX473" fmla="*/ 2456300 w 2464405"/>
              <a:gd name="connsiteY473" fmla="*/ 76217 h 2151152"/>
              <a:gd name="connsiteX474" fmla="*/ 2409042 w 2464405"/>
              <a:gd name="connsiteY474" fmla="*/ 211016 h 2151152"/>
              <a:gd name="connsiteX475" fmla="*/ 2435454 w 2464405"/>
              <a:gd name="connsiteY475" fmla="*/ 216457 h 2151152"/>
              <a:gd name="connsiteX476" fmla="*/ 2405348 w 2464405"/>
              <a:gd name="connsiteY476" fmla="*/ 362600 h 2151152"/>
              <a:gd name="connsiteX477" fmla="*/ 2375077 w 2464405"/>
              <a:gd name="connsiteY477" fmla="*/ 356365 h 2151152"/>
              <a:gd name="connsiteX478" fmla="*/ 2370897 w 2464405"/>
              <a:gd name="connsiteY478" fmla="*/ 403303 h 2151152"/>
              <a:gd name="connsiteX479" fmla="*/ 2321713 w 2464405"/>
              <a:gd name="connsiteY479" fmla="*/ 398923 h 2151152"/>
              <a:gd name="connsiteX480" fmla="*/ 2330526 w 2464405"/>
              <a:gd name="connsiteY480" fmla="*/ 425932 h 2151152"/>
              <a:gd name="connsiteX481" fmla="*/ 2297629 w 2464405"/>
              <a:gd name="connsiteY481" fmla="*/ 436666 h 2151152"/>
              <a:gd name="connsiteX482" fmla="*/ 2286895 w 2464405"/>
              <a:gd name="connsiteY482" fmla="*/ 403771 h 2151152"/>
              <a:gd name="connsiteX483" fmla="*/ 2306032 w 2464405"/>
              <a:gd name="connsiteY483" fmla="*/ 397526 h 2151152"/>
              <a:gd name="connsiteX484" fmla="*/ 2305988 w 2464405"/>
              <a:gd name="connsiteY484" fmla="*/ 397522 h 2151152"/>
              <a:gd name="connsiteX485" fmla="*/ 2310832 w 2464405"/>
              <a:gd name="connsiteY485" fmla="*/ 343130 h 2151152"/>
              <a:gd name="connsiteX486" fmla="*/ 2276368 w 2464405"/>
              <a:gd name="connsiteY486" fmla="*/ 336030 h 2151152"/>
              <a:gd name="connsiteX487" fmla="*/ 2255311 w 2464405"/>
              <a:gd name="connsiteY487" fmla="*/ 348222 h 2151152"/>
              <a:gd name="connsiteX488" fmla="*/ 2230822 w 2464405"/>
              <a:gd name="connsiteY488" fmla="*/ 305925 h 2151152"/>
              <a:gd name="connsiteX489" fmla="*/ 2269263 w 2464405"/>
              <a:gd name="connsiteY489" fmla="*/ 283669 h 2151152"/>
              <a:gd name="connsiteX490" fmla="*/ 2273218 w 2464405"/>
              <a:gd name="connsiteY490" fmla="*/ 264467 h 2151152"/>
              <a:gd name="connsiteX491" fmla="*/ 2230076 w 2464405"/>
              <a:gd name="connsiteY491" fmla="*/ 294721 h 2151152"/>
              <a:gd name="connsiteX492" fmla="*/ 2173587 w 2464405"/>
              <a:gd name="connsiteY492" fmla="*/ 214165 h 2151152"/>
              <a:gd name="connsiteX493" fmla="*/ 2143751 w 2464405"/>
              <a:gd name="connsiteY493" fmla="*/ 247325 h 2151152"/>
              <a:gd name="connsiteX494" fmla="*/ 2144162 w 2464405"/>
              <a:gd name="connsiteY494" fmla="*/ 248415 h 2151152"/>
              <a:gd name="connsiteX495" fmla="*/ 2226609 w 2464405"/>
              <a:gd name="connsiteY495" fmla="*/ 294815 h 2151152"/>
              <a:gd name="connsiteX496" fmla="*/ 2177632 w 2464405"/>
              <a:gd name="connsiteY496" fmla="*/ 381841 h 2151152"/>
              <a:gd name="connsiteX497" fmla="*/ 2160811 w 2464405"/>
              <a:gd name="connsiteY497" fmla="*/ 372374 h 2151152"/>
              <a:gd name="connsiteX498" fmla="*/ 2165772 w 2464405"/>
              <a:gd name="connsiteY498" fmla="*/ 434391 h 2151152"/>
              <a:gd name="connsiteX499" fmla="*/ 2051665 w 2464405"/>
              <a:gd name="connsiteY499" fmla="*/ 443519 h 2151152"/>
              <a:gd name="connsiteX500" fmla="*/ 2046727 w 2464405"/>
              <a:gd name="connsiteY500" fmla="*/ 381793 h 2151152"/>
              <a:gd name="connsiteX501" fmla="*/ 2006515 w 2464405"/>
              <a:gd name="connsiteY501" fmla="*/ 396932 h 2151152"/>
              <a:gd name="connsiteX502" fmla="*/ 1942691 w 2464405"/>
              <a:gd name="connsiteY502" fmla="*/ 227401 h 2151152"/>
              <a:gd name="connsiteX503" fmla="*/ 2045004 w 2464405"/>
              <a:gd name="connsiteY503" fmla="*/ 188883 h 2151152"/>
              <a:gd name="connsiteX504" fmla="*/ 2029745 w 2464405"/>
              <a:gd name="connsiteY504" fmla="*/ 175154 h 2151152"/>
              <a:gd name="connsiteX505" fmla="*/ 2052088 w 2464405"/>
              <a:gd name="connsiteY505" fmla="*/ 150322 h 2151152"/>
              <a:gd name="connsiteX506" fmla="*/ 2048967 w 2464405"/>
              <a:gd name="connsiteY506" fmla="*/ 151663 h 2151152"/>
              <a:gd name="connsiteX507" fmla="*/ 2044298 w 2464405"/>
              <a:gd name="connsiteY507" fmla="*/ 140796 h 2151152"/>
              <a:gd name="connsiteX508" fmla="*/ 2055164 w 2464405"/>
              <a:gd name="connsiteY508" fmla="*/ 136128 h 2151152"/>
              <a:gd name="connsiteX509" fmla="*/ 2058298 w 2464405"/>
              <a:gd name="connsiteY509" fmla="*/ 143421 h 2151152"/>
              <a:gd name="connsiteX510" fmla="*/ 2069187 w 2464405"/>
              <a:gd name="connsiteY510" fmla="*/ 131319 h 2151152"/>
              <a:gd name="connsiteX511" fmla="*/ 2048478 w 2464405"/>
              <a:gd name="connsiteY511" fmla="*/ 116107 h 215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</a:cxnLst>
            <a:rect l="l" t="t" r="r" b="b"/>
            <a:pathLst>
              <a:path w="2464405" h="2151152">
                <a:moveTo>
                  <a:pt x="693622" y="2056673"/>
                </a:moveTo>
                <a:lnTo>
                  <a:pt x="709674" y="2061028"/>
                </a:lnTo>
                <a:lnTo>
                  <a:pt x="705319" y="2077081"/>
                </a:lnTo>
                <a:lnTo>
                  <a:pt x="689266" y="2072726"/>
                </a:lnTo>
                <a:close/>
                <a:moveTo>
                  <a:pt x="972808" y="2046531"/>
                </a:moveTo>
                <a:lnTo>
                  <a:pt x="976731" y="2057398"/>
                </a:lnTo>
                <a:lnTo>
                  <a:pt x="965864" y="2061322"/>
                </a:lnTo>
                <a:lnTo>
                  <a:pt x="961940" y="2050454"/>
                </a:lnTo>
                <a:close/>
                <a:moveTo>
                  <a:pt x="523710" y="2040732"/>
                </a:moveTo>
                <a:lnTo>
                  <a:pt x="534936" y="2096357"/>
                </a:lnTo>
                <a:lnTo>
                  <a:pt x="479311" y="2107584"/>
                </a:lnTo>
                <a:lnTo>
                  <a:pt x="468085" y="2051958"/>
                </a:lnTo>
                <a:close/>
                <a:moveTo>
                  <a:pt x="480493" y="2025521"/>
                </a:moveTo>
                <a:lnTo>
                  <a:pt x="488639" y="2039695"/>
                </a:lnTo>
                <a:lnTo>
                  <a:pt x="474465" y="2047840"/>
                </a:lnTo>
                <a:lnTo>
                  <a:pt x="466319" y="2033667"/>
                </a:lnTo>
                <a:close/>
                <a:moveTo>
                  <a:pt x="346664" y="1995001"/>
                </a:moveTo>
                <a:lnTo>
                  <a:pt x="374373" y="2035469"/>
                </a:lnTo>
                <a:lnTo>
                  <a:pt x="333905" y="2063177"/>
                </a:lnTo>
                <a:lnTo>
                  <a:pt x="306196" y="2022710"/>
                </a:lnTo>
                <a:close/>
                <a:moveTo>
                  <a:pt x="1146188" y="1974613"/>
                </a:moveTo>
                <a:lnTo>
                  <a:pt x="1220168" y="1975969"/>
                </a:lnTo>
                <a:lnTo>
                  <a:pt x="1218812" y="2049949"/>
                </a:lnTo>
                <a:lnTo>
                  <a:pt x="1144832" y="2048593"/>
                </a:lnTo>
                <a:close/>
                <a:moveTo>
                  <a:pt x="1058611" y="1960156"/>
                </a:moveTo>
                <a:lnTo>
                  <a:pt x="1085009" y="1981116"/>
                </a:lnTo>
                <a:lnTo>
                  <a:pt x="1064049" y="2007515"/>
                </a:lnTo>
                <a:lnTo>
                  <a:pt x="1037650" y="1986554"/>
                </a:lnTo>
                <a:close/>
                <a:moveTo>
                  <a:pt x="213347" y="1908424"/>
                </a:moveTo>
                <a:lnTo>
                  <a:pt x="291424" y="1981616"/>
                </a:lnTo>
                <a:lnTo>
                  <a:pt x="218233" y="2059693"/>
                </a:lnTo>
                <a:lnTo>
                  <a:pt x="140155" y="1986502"/>
                </a:lnTo>
                <a:close/>
                <a:moveTo>
                  <a:pt x="460394" y="1900581"/>
                </a:moveTo>
                <a:lnTo>
                  <a:pt x="463440" y="1914812"/>
                </a:lnTo>
                <a:lnTo>
                  <a:pt x="449209" y="1917858"/>
                </a:lnTo>
                <a:lnTo>
                  <a:pt x="446163" y="1903626"/>
                </a:lnTo>
                <a:close/>
                <a:moveTo>
                  <a:pt x="766279" y="1898540"/>
                </a:moveTo>
                <a:lnTo>
                  <a:pt x="821863" y="1903364"/>
                </a:lnTo>
                <a:lnTo>
                  <a:pt x="817039" y="1958948"/>
                </a:lnTo>
                <a:lnTo>
                  <a:pt x="761455" y="1954124"/>
                </a:lnTo>
                <a:close/>
                <a:moveTo>
                  <a:pt x="1473418" y="1871606"/>
                </a:moveTo>
                <a:lnTo>
                  <a:pt x="1478472" y="1873831"/>
                </a:lnTo>
                <a:lnTo>
                  <a:pt x="1476247" y="1878885"/>
                </a:lnTo>
                <a:lnTo>
                  <a:pt x="1471193" y="1876660"/>
                </a:lnTo>
                <a:close/>
                <a:moveTo>
                  <a:pt x="1009249" y="1863590"/>
                </a:moveTo>
                <a:lnTo>
                  <a:pt x="1026046" y="1971594"/>
                </a:lnTo>
                <a:lnTo>
                  <a:pt x="932541" y="1986136"/>
                </a:lnTo>
                <a:lnTo>
                  <a:pt x="935267" y="2004734"/>
                </a:lnTo>
                <a:lnTo>
                  <a:pt x="905005" y="2009171"/>
                </a:lnTo>
                <a:lnTo>
                  <a:pt x="919663" y="2012196"/>
                </a:lnTo>
                <a:lnTo>
                  <a:pt x="890987" y="2151152"/>
                </a:lnTo>
                <a:lnTo>
                  <a:pt x="752030" y="2122476"/>
                </a:lnTo>
                <a:lnTo>
                  <a:pt x="780706" y="1983520"/>
                </a:lnTo>
                <a:lnTo>
                  <a:pt x="856390" y="1999139"/>
                </a:lnTo>
                <a:lnTo>
                  <a:pt x="849863" y="1954614"/>
                </a:lnTo>
                <a:lnTo>
                  <a:pt x="844621" y="1968807"/>
                </a:lnTo>
                <a:lnTo>
                  <a:pt x="825725" y="1961829"/>
                </a:lnTo>
                <a:lnTo>
                  <a:pt x="832703" y="1942933"/>
                </a:lnTo>
                <a:lnTo>
                  <a:pt x="849034" y="1948965"/>
                </a:lnTo>
                <a:lnTo>
                  <a:pt x="847650" y="1939522"/>
                </a:lnTo>
                <a:lnTo>
                  <a:pt x="909042" y="1930523"/>
                </a:lnTo>
                <a:lnTo>
                  <a:pt x="901245" y="1880387"/>
                </a:lnTo>
                <a:close/>
                <a:moveTo>
                  <a:pt x="1312455" y="1861596"/>
                </a:moveTo>
                <a:lnTo>
                  <a:pt x="1330924" y="1899016"/>
                </a:lnTo>
                <a:lnTo>
                  <a:pt x="1343680" y="1871295"/>
                </a:lnTo>
                <a:lnTo>
                  <a:pt x="1427432" y="1909833"/>
                </a:lnTo>
                <a:lnTo>
                  <a:pt x="1388893" y="1993585"/>
                </a:lnTo>
                <a:lnTo>
                  <a:pt x="1318144" y="1961029"/>
                </a:lnTo>
                <a:lnTo>
                  <a:pt x="1270820" y="1984387"/>
                </a:lnTo>
                <a:lnTo>
                  <a:pt x="1230242" y="1902174"/>
                </a:lnTo>
                <a:close/>
                <a:moveTo>
                  <a:pt x="227637" y="1857393"/>
                </a:moveTo>
                <a:lnTo>
                  <a:pt x="235633" y="1868686"/>
                </a:lnTo>
                <a:lnTo>
                  <a:pt x="224340" y="1876683"/>
                </a:lnTo>
                <a:lnTo>
                  <a:pt x="216343" y="1865389"/>
                </a:lnTo>
                <a:close/>
                <a:moveTo>
                  <a:pt x="46706" y="1854312"/>
                </a:moveTo>
                <a:lnTo>
                  <a:pt x="66898" y="1901019"/>
                </a:lnTo>
                <a:lnTo>
                  <a:pt x="20192" y="1921211"/>
                </a:lnTo>
                <a:lnTo>
                  <a:pt x="0" y="1874504"/>
                </a:lnTo>
                <a:close/>
                <a:moveTo>
                  <a:pt x="1291222" y="1844698"/>
                </a:moveTo>
                <a:lnTo>
                  <a:pt x="1298097" y="1850867"/>
                </a:lnTo>
                <a:lnTo>
                  <a:pt x="1291928" y="1857742"/>
                </a:lnTo>
                <a:lnTo>
                  <a:pt x="1285053" y="1851573"/>
                </a:lnTo>
                <a:close/>
                <a:moveTo>
                  <a:pt x="661311" y="1814969"/>
                </a:moveTo>
                <a:lnTo>
                  <a:pt x="756704" y="1869778"/>
                </a:lnTo>
                <a:lnTo>
                  <a:pt x="701895" y="1965171"/>
                </a:lnTo>
                <a:lnTo>
                  <a:pt x="664829" y="1943875"/>
                </a:lnTo>
                <a:lnTo>
                  <a:pt x="675385" y="2019082"/>
                </a:lnTo>
                <a:lnTo>
                  <a:pt x="663094" y="2020807"/>
                </a:lnTo>
                <a:lnTo>
                  <a:pt x="671338" y="2021837"/>
                </a:lnTo>
                <a:lnTo>
                  <a:pt x="669403" y="2037327"/>
                </a:lnTo>
                <a:lnTo>
                  <a:pt x="653913" y="2035392"/>
                </a:lnTo>
                <a:lnTo>
                  <a:pt x="655604" y="2021859"/>
                </a:lnTo>
                <a:lnTo>
                  <a:pt x="558639" y="2035469"/>
                </a:lnTo>
                <a:lnTo>
                  <a:pt x="545327" y="1940626"/>
                </a:lnTo>
                <a:lnTo>
                  <a:pt x="501419" y="1930052"/>
                </a:lnTo>
                <a:lnTo>
                  <a:pt x="513237" y="1880979"/>
                </a:lnTo>
                <a:lnTo>
                  <a:pt x="562310" y="1892797"/>
                </a:lnTo>
                <a:lnTo>
                  <a:pt x="556550" y="1916715"/>
                </a:lnTo>
                <a:lnTo>
                  <a:pt x="606913" y="1909646"/>
                </a:lnTo>
                <a:close/>
                <a:moveTo>
                  <a:pt x="746444" y="1814318"/>
                </a:moveTo>
                <a:lnTo>
                  <a:pt x="760131" y="1815470"/>
                </a:lnTo>
                <a:lnTo>
                  <a:pt x="758979" y="1829158"/>
                </a:lnTo>
                <a:lnTo>
                  <a:pt x="745292" y="1828006"/>
                </a:lnTo>
                <a:close/>
                <a:moveTo>
                  <a:pt x="566174" y="1804149"/>
                </a:moveTo>
                <a:lnTo>
                  <a:pt x="568120" y="1816506"/>
                </a:lnTo>
                <a:lnTo>
                  <a:pt x="555764" y="1818452"/>
                </a:lnTo>
                <a:lnTo>
                  <a:pt x="553818" y="1806095"/>
                </a:lnTo>
                <a:close/>
                <a:moveTo>
                  <a:pt x="1540788" y="1783013"/>
                </a:moveTo>
                <a:lnTo>
                  <a:pt x="1519110" y="1783342"/>
                </a:lnTo>
                <a:lnTo>
                  <a:pt x="1524347" y="1793953"/>
                </a:lnTo>
                <a:close/>
                <a:moveTo>
                  <a:pt x="1674925" y="1746674"/>
                </a:moveTo>
                <a:lnTo>
                  <a:pt x="1685749" y="1753343"/>
                </a:lnTo>
                <a:lnTo>
                  <a:pt x="1679080" y="1764165"/>
                </a:lnTo>
                <a:lnTo>
                  <a:pt x="1668257" y="1757496"/>
                </a:lnTo>
                <a:close/>
                <a:moveTo>
                  <a:pt x="1245271" y="1740131"/>
                </a:moveTo>
                <a:lnTo>
                  <a:pt x="1269984" y="1805739"/>
                </a:lnTo>
                <a:lnTo>
                  <a:pt x="1204376" y="1830452"/>
                </a:lnTo>
                <a:lnTo>
                  <a:pt x="1179663" y="1764844"/>
                </a:lnTo>
                <a:close/>
                <a:moveTo>
                  <a:pt x="1311004" y="1733028"/>
                </a:moveTo>
                <a:lnTo>
                  <a:pt x="1382405" y="1749040"/>
                </a:lnTo>
                <a:lnTo>
                  <a:pt x="1366392" y="1820442"/>
                </a:lnTo>
                <a:lnTo>
                  <a:pt x="1294992" y="1804430"/>
                </a:lnTo>
                <a:close/>
                <a:moveTo>
                  <a:pt x="154450" y="1728630"/>
                </a:moveTo>
                <a:lnTo>
                  <a:pt x="218025" y="1778568"/>
                </a:lnTo>
                <a:lnTo>
                  <a:pt x="168087" y="1842143"/>
                </a:lnTo>
                <a:lnTo>
                  <a:pt x="104512" y="1792205"/>
                </a:lnTo>
                <a:close/>
                <a:moveTo>
                  <a:pt x="1559563" y="1718100"/>
                </a:moveTo>
                <a:lnTo>
                  <a:pt x="1560351" y="1769995"/>
                </a:lnTo>
                <a:lnTo>
                  <a:pt x="1592655" y="1748500"/>
                </a:lnTo>
                <a:lnTo>
                  <a:pt x="1640329" y="1820146"/>
                </a:lnTo>
                <a:lnTo>
                  <a:pt x="1568683" y="1867820"/>
                </a:lnTo>
                <a:lnTo>
                  <a:pt x="1538180" y="1821978"/>
                </a:lnTo>
                <a:lnTo>
                  <a:pt x="1543955" y="1833680"/>
                </a:lnTo>
                <a:lnTo>
                  <a:pt x="1461742" y="1874258"/>
                </a:lnTo>
                <a:lnTo>
                  <a:pt x="1433551" y="1817142"/>
                </a:lnTo>
                <a:lnTo>
                  <a:pt x="1396402" y="1816078"/>
                </a:lnTo>
                <a:lnTo>
                  <a:pt x="1398229" y="1752268"/>
                </a:lnTo>
                <a:lnTo>
                  <a:pt x="1462039" y="1754095"/>
                </a:lnTo>
                <a:lnTo>
                  <a:pt x="1461523" y="1772125"/>
                </a:lnTo>
                <a:lnTo>
                  <a:pt x="1495502" y="1755354"/>
                </a:lnTo>
                <a:lnTo>
                  <a:pt x="1494951" y="1719081"/>
                </a:lnTo>
                <a:close/>
                <a:moveTo>
                  <a:pt x="374352" y="1712315"/>
                </a:moveTo>
                <a:lnTo>
                  <a:pt x="428961" y="1827946"/>
                </a:lnTo>
                <a:lnTo>
                  <a:pt x="313330" y="1882555"/>
                </a:lnTo>
                <a:lnTo>
                  <a:pt x="258721" y="1766924"/>
                </a:lnTo>
                <a:close/>
                <a:moveTo>
                  <a:pt x="1379553" y="1694479"/>
                </a:moveTo>
                <a:lnTo>
                  <a:pt x="1388280" y="1703007"/>
                </a:lnTo>
                <a:lnTo>
                  <a:pt x="1379752" y="1711734"/>
                </a:lnTo>
                <a:lnTo>
                  <a:pt x="1371025" y="1703206"/>
                </a:lnTo>
                <a:close/>
                <a:moveTo>
                  <a:pt x="1213302" y="1684889"/>
                </a:moveTo>
                <a:lnTo>
                  <a:pt x="1216187" y="1689111"/>
                </a:lnTo>
                <a:lnTo>
                  <a:pt x="1211965" y="1691995"/>
                </a:lnTo>
                <a:lnTo>
                  <a:pt x="1209081" y="1687773"/>
                </a:lnTo>
                <a:close/>
                <a:moveTo>
                  <a:pt x="1046408" y="1680220"/>
                </a:moveTo>
                <a:lnTo>
                  <a:pt x="1135718" y="1723587"/>
                </a:lnTo>
                <a:lnTo>
                  <a:pt x="1109229" y="1778138"/>
                </a:lnTo>
                <a:lnTo>
                  <a:pt x="1178950" y="1801623"/>
                </a:lnTo>
                <a:lnTo>
                  <a:pt x="1151141" y="1884181"/>
                </a:lnTo>
                <a:lnTo>
                  <a:pt x="1189176" y="1896290"/>
                </a:lnTo>
                <a:lnTo>
                  <a:pt x="1173356" y="1945979"/>
                </a:lnTo>
                <a:lnTo>
                  <a:pt x="1123668" y="1930159"/>
                </a:lnTo>
                <a:lnTo>
                  <a:pt x="1135535" y="1892884"/>
                </a:lnTo>
                <a:lnTo>
                  <a:pt x="1051823" y="1864686"/>
                </a:lnTo>
                <a:lnTo>
                  <a:pt x="1072513" y="1803264"/>
                </a:lnTo>
                <a:lnTo>
                  <a:pt x="1007548" y="1771718"/>
                </a:lnTo>
                <a:lnTo>
                  <a:pt x="1028197" y="1833019"/>
                </a:lnTo>
                <a:lnTo>
                  <a:pt x="951298" y="1858922"/>
                </a:lnTo>
                <a:lnTo>
                  <a:pt x="939149" y="1822852"/>
                </a:lnTo>
                <a:lnTo>
                  <a:pt x="858824" y="1897104"/>
                </a:lnTo>
                <a:lnTo>
                  <a:pt x="773711" y="1805028"/>
                </a:lnTo>
                <a:lnTo>
                  <a:pt x="865787" y="1719914"/>
                </a:lnTo>
                <a:lnTo>
                  <a:pt x="926656" y="1785762"/>
                </a:lnTo>
                <a:lnTo>
                  <a:pt x="925396" y="1782023"/>
                </a:lnTo>
                <a:lnTo>
                  <a:pt x="1002294" y="1756120"/>
                </a:lnTo>
                <a:lnTo>
                  <a:pt x="1005267" y="1764947"/>
                </a:lnTo>
                <a:close/>
                <a:moveTo>
                  <a:pt x="1469396" y="1660405"/>
                </a:moveTo>
                <a:lnTo>
                  <a:pt x="1498736" y="1683526"/>
                </a:lnTo>
                <a:lnTo>
                  <a:pt x="1475615" y="1712866"/>
                </a:lnTo>
                <a:lnTo>
                  <a:pt x="1446275" y="1689745"/>
                </a:lnTo>
                <a:close/>
                <a:moveTo>
                  <a:pt x="1562094" y="1637991"/>
                </a:moveTo>
                <a:lnTo>
                  <a:pt x="1563213" y="1646506"/>
                </a:lnTo>
                <a:lnTo>
                  <a:pt x="1554697" y="1647625"/>
                </a:lnTo>
                <a:lnTo>
                  <a:pt x="1553579" y="1639109"/>
                </a:lnTo>
                <a:close/>
                <a:moveTo>
                  <a:pt x="1314629" y="1629416"/>
                </a:moveTo>
                <a:lnTo>
                  <a:pt x="1330429" y="1665359"/>
                </a:lnTo>
                <a:lnTo>
                  <a:pt x="1294486" y="1681160"/>
                </a:lnTo>
                <a:lnTo>
                  <a:pt x="1286477" y="1662942"/>
                </a:lnTo>
                <a:lnTo>
                  <a:pt x="1290305" y="1717622"/>
                </a:lnTo>
                <a:lnTo>
                  <a:pt x="1221937" y="1722408"/>
                </a:lnTo>
                <a:lnTo>
                  <a:pt x="1217151" y="1654040"/>
                </a:lnTo>
                <a:lnTo>
                  <a:pt x="1280611" y="1649597"/>
                </a:lnTo>
                <a:lnTo>
                  <a:pt x="1278685" y="1645216"/>
                </a:lnTo>
                <a:close/>
                <a:moveTo>
                  <a:pt x="1813095" y="1615343"/>
                </a:moveTo>
                <a:lnTo>
                  <a:pt x="1818358" y="1624779"/>
                </a:lnTo>
                <a:lnTo>
                  <a:pt x="1808922" y="1630042"/>
                </a:lnTo>
                <a:lnTo>
                  <a:pt x="1803660" y="1620606"/>
                </a:lnTo>
                <a:close/>
                <a:moveTo>
                  <a:pt x="1535500" y="1603635"/>
                </a:moveTo>
                <a:lnTo>
                  <a:pt x="1555046" y="1613088"/>
                </a:lnTo>
                <a:lnTo>
                  <a:pt x="1545593" y="1632632"/>
                </a:lnTo>
                <a:lnTo>
                  <a:pt x="1526048" y="1623179"/>
                </a:lnTo>
                <a:close/>
                <a:moveTo>
                  <a:pt x="1429876" y="1524125"/>
                </a:moveTo>
                <a:lnTo>
                  <a:pt x="1457551" y="1612707"/>
                </a:lnTo>
                <a:lnTo>
                  <a:pt x="1368968" y="1640383"/>
                </a:lnTo>
                <a:lnTo>
                  <a:pt x="1341293" y="1551800"/>
                </a:lnTo>
                <a:close/>
                <a:moveTo>
                  <a:pt x="1506014" y="1511672"/>
                </a:moveTo>
                <a:lnTo>
                  <a:pt x="1547641" y="1573368"/>
                </a:lnTo>
                <a:lnTo>
                  <a:pt x="1485944" y="1614995"/>
                </a:lnTo>
                <a:lnTo>
                  <a:pt x="1444318" y="1553298"/>
                </a:lnTo>
                <a:close/>
                <a:moveTo>
                  <a:pt x="1625937" y="1480057"/>
                </a:moveTo>
                <a:lnTo>
                  <a:pt x="1636030" y="1485819"/>
                </a:lnTo>
                <a:lnTo>
                  <a:pt x="1630269" y="1495912"/>
                </a:lnTo>
                <a:lnTo>
                  <a:pt x="1620175" y="1490150"/>
                </a:lnTo>
                <a:close/>
                <a:moveTo>
                  <a:pt x="1562081" y="1439942"/>
                </a:moveTo>
                <a:lnTo>
                  <a:pt x="1594495" y="1501684"/>
                </a:lnTo>
                <a:lnTo>
                  <a:pt x="1532755" y="1534098"/>
                </a:lnTo>
                <a:lnTo>
                  <a:pt x="1500340" y="1472357"/>
                </a:lnTo>
                <a:close/>
                <a:moveTo>
                  <a:pt x="1733481" y="1427471"/>
                </a:moveTo>
                <a:lnTo>
                  <a:pt x="1735752" y="1435082"/>
                </a:lnTo>
                <a:lnTo>
                  <a:pt x="1728142" y="1437352"/>
                </a:lnTo>
                <a:lnTo>
                  <a:pt x="1725872" y="1429741"/>
                </a:lnTo>
                <a:close/>
                <a:moveTo>
                  <a:pt x="1897549" y="1424228"/>
                </a:moveTo>
                <a:lnTo>
                  <a:pt x="1890662" y="1424447"/>
                </a:lnTo>
                <a:lnTo>
                  <a:pt x="1890976" y="1427676"/>
                </a:lnTo>
                <a:lnTo>
                  <a:pt x="1898078" y="1425659"/>
                </a:lnTo>
                <a:close/>
                <a:moveTo>
                  <a:pt x="2006056" y="1420761"/>
                </a:moveTo>
                <a:lnTo>
                  <a:pt x="2016378" y="1426875"/>
                </a:lnTo>
                <a:lnTo>
                  <a:pt x="2010264" y="1437198"/>
                </a:lnTo>
                <a:lnTo>
                  <a:pt x="1999942" y="1431083"/>
                </a:lnTo>
                <a:close/>
                <a:moveTo>
                  <a:pt x="1647052" y="1385041"/>
                </a:moveTo>
                <a:lnTo>
                  <a:pt x="1662282" y="1390116"/>
                </a:lnTo>
                <a:lnTo>
                  <a:pt x="1657207" y="1405346"/>
                </a:lnTo>
                <a:lnTo>
                  <a:pt x="1641977" y="1400271"/>
                </a:lnTo>
                <a:close/>
                <a:moveTo>
                  <a:pt x="2059349" y="1344302"/>
                </a:moveTo>
                <a:lnTo>
                  <a:pt x="2061250" y="1360860"/>
                </a:lnTo>
                <a:lnTo>
                  <a:pt x="2044692" y="1362761"/>
                </a:lnTo>
                <a:lnTo>
                  <a:pt x="2042790" y="1346203"/>
                </a:lnTo>
                <a:close/>
                <a:moveTo>
                  <a:pt x="1714726" y="1328745"/>
                </a:moveTo>
                <a:lnTo>
                  <a:pt x="1715410" y="1337818"/>
                </a:lnTo>
                <a:lnTo>
                  <a:pt x="1706336" y="1338502"/>
                </a:lnTo>
                <a:lnTo>
                  <a:pt x="1705652" y="1329429"/>
                </a:lnTo>
                <a:close/>
                <a:moveTo>
                  <a:pt x="1979123" y="1189350"/>
                </a:moveTo>
                <a:lnTo>
                  <a:pt x="1946000" y="1209363"/>
                </a:lnTo>
                <a:lnTo>
                  <a:pt x="1972788" y="1228732"/>
                </a:lnTo>
                <a:lnTo>
                  <a:pt x="1982623" y="1194342"/>
                </a:lnTo>
                <a:close/>
                <a:moveTo>
                  <a:pt x="2155208" y="1169395"/>
                </a:moveTo>
                <a:lnTo>
                  <a:pt x="2177887" y="1175474"/>
                </a:lnTo>
                <a:lnTo>
                  <a:pt x="2171808" y="1198153"/>
                </a:lnTo>
                <a:lnTo>
                  <a:pt x="2149129" y="1192075"/>
                </a:lnTo>
                <a:close/>
                <a:moveTo>
                  <a:pt x="2152878" y="1104089"/>
                </a:moveTo>
                <a:lnTo>
                  <a:pt x="2168423" y="1110646"/>
                </a:lnTo>
                <a:lnTo>
                  <a:pt x="2161866" y="1126191"/>
                </a:lnTo>
                <a:lnTo>
                  <a:pt x="2146322" y="1119634"/>
                </a:lnTo>
                <a:close/>
                <a:moveTo>
                  <a:pt x="2073538" y="1045242"/>
                </a:moveTo>
                <a:lnTo>
                  <a:pt x="2087771" y="1048442"/>
                </a:lnTo>
                <a:lnTo>
                  <a:pt x="2084571" y="1062675"/>
                </a:lnTo>
                <a:lnTo>
                  <a:pt x="2070338" y="1059475"/>
                </a:lnTo>
                <a:close/>
                <a:moveTo>
                  <a:pt x="1985220" y="1022635"/>
                </a:moveTo>
                <a:lnTo>
                  <a:pt x="1985862" y="1023697"/>
                </a:lnTo>
                <a:lnTo>
                  <a:pt x="1987231" y="1022814"/>
                </a:lnTo>
                <a:close/>
                <a:moveTo>
                  <a:pt x="1916635" y="994154"/>
                </a:moveTo>
                <a:lnTo>
                  <a:pt x="1928422" y="1002033"/>
                </a:lnTo>
                <a:lnTo>
                  <a:pt x="1920543" y="1013821"/>
                </a:lnTo>
                <a:lnTo>
                  <a:pt x="1908756" y="1005942"/>
                </a:lnTo>
                <a:close/>
                <a:moveTo>
                  <a:pt x="2050316" y="969301"/>
                </a:moveTo>
                <a:lnTo>
                  <a:pt x="2056644" y="975056"/>
                </a:lnTo>
                <a:lnTo>
                  <a:pt x="2050888" y="981384"/>
                </a:lnTo>
                <a:lnTo>
                  <a:pt x="2044560" y="975628"/>
                </a:lnTo>
                <a:close/>
                <a:moveTo>
                  <a:pt x="1977407" y="899382"/>
                </a:moveTo>
                <a:lnTo>
                  <a:pt x="2013851" y="950626"/>
                </a:lnTo>
                <a:lnTo>
                  <a:pt x="1999840" y="960590"/>
                </a:lnTo>
                <a:lnTo>
                  <a:pt x="1994730" y="1017976"/>
                </a:lnTo>
                <a:lnTo>
                  <a:pt x="2000366" y="1014339"/>
                </a:lnTo>
                <a:lnTo>
                  <a:pt x="2030485" y="1061020"/>
                </a:lnTo>
                <a:lnTo>
                  <a:pt x="2014603" y="1071267"/>
                </a:lnTo>
                <a:lnTo>
                  <a:pt x="2051459" y="1132266"/>
                </a:lnTo>
                <a:lnTo>
                  <a:pt x="2074415" y="1116169"/>
                </a:lnTo>
                <a:lnTo>
                  <a:pt x="2102291" y="1155920"/>
                </a:lnTo>
                <a:lnTo>
                  <a:pt x="2141488" y="1167130"/>
                </a:lnTo>
                <a:lnTo>
                  <a:pt x="2132410" y="1198871"/>
                </a:lnTo>
                <a:lnTo>
                  <a:pt x="2143335" y="1214450"/>
                </a:lnTo>
                <a:lnTo>
                  <a:pt x="2124097" y="1227941"/>
                </a:lnTo>
                <a:lnTo>
                  <a:pt x="2110744" y="1274632"/>
                </a:lnTo>
                <a:lnTo>
                  <a:pt x="2116606" y="1277025"/>
                </a:lnTo>
                <a:lnTo>
                  <a:pt x="2112470" y="1287154"/>
                </a:lnTo>
                <a:lnTo>
                  <a:pt x="2107718" y="1285213"/>
                </a:lnTo>
                <a:lnTo>
                  <a:pt x="2101547" y="1306790"/>
                </a:lnTo>
                <a:lnTo>
                  <a:pt x="2064915" y="1296314"/>
                </a:lnTo>
                <a:lnTo>
                  <a:pt x="2067625" y="1335020"/>
                </a:lnTo>
                <a:lnTo>
                  <a:pt x="1999257" y="1339806"/>
                </a:lnTo>
                <a:lnTo>
                  <a:pt x="1998577" y="1330093"/>
                </a:lnTo>
                <a:lnTo>
                  <a:pt x="1983602" y="1333813"/>
                </a:lnTo>
                <a:lnTo>
                  <a:pt x="1975208" y="1345421"/>
                </a:lnTo>
                <a:lnTo>
                  <a:pt x="1996605" y="1403295"/>
                </a:lnTo>
                <a:lnTo>
                  <a:pt x="1987681" y="1406595"/>
                </a:lnTo>
                <a:lnTo>
                  <a:pt x="2019709" y="1519328"/>
                </a:lnTo>
                <a:lnTo>
                  <a:pt x="1915104" y="1549047"/>
                </a:lnTo>
                <a:lnTo>
                  <a:pt x="1916546" y="1552333"/>
                </a:lnTo>
                <a:lnTo>
                  <a:pt x="1906871" y="1556580"/>
                </a:lnTo>
                <a:lnTo>
                  <a:pt x="1904844" y="1551962"/>
                </a:lnTo>
                <a:lnTo>
                  <a:pt x="1903122" y="1552451"/>
                </a:lnTo>
                <a:lnTo>
                  <a:pt x="1903218" y="1553439"/>
                </a:lnTo>
                <a:lnTo>
                  <a:pt x="1835063" y="1560074"/>
                </a:lnTo>
                <a:lnTo>
                  <a:pt x="1839626" y="1564671"/>
                </a:lnTo>
                <a:lnTo>
                  <a:pt x="1832731" y="1571513"/>
                </a:lnTo>
                <a:lnTo>
                  <a:pt x="1825888" y="1564618"/>
                </a:lnTo>
                <a:lnTo>
                  <a:pt x="1829968" y="1560570"/>
                </a:lnTo>
                <a:lnTo>
                  <a:pt x="1770292" y="1566379"/>
                </a:lnTo>
                <a:lnTo>
                  <a:pt x="1762109" y="1589410"/>
                </a:lnTo>
                <a:lnTo>
                  <a:pt x="1747732" y="1584302"/>
                </a:lnTo>
                <a:lnTo>
                  <a:pt x="1808749" y="1662908"/>
                </a:lnTo>
                <a:lnTo>
                  <a:pt x="1695080" y="1751142"/>
                </a:lnTo>
                <a:lnTo>
                  <a:pt x="1661861" y="1708347"/>
                </a:lnTo>
                <a:lnTo>
                  <a:pt x="1622244" y="1688543"/>
                </a:lnTo>
                <a:lnTo>
                  <a:pt x="1631741" y="1669545"/>
                </a:lnTo>
                <a:lnTo>
                  <a:pt x="1606846" y="1637473"/>
                </a:lnTo>
                <a:lnTo>
                  <a:pt x="1636454" y="1614490"/>
                </a:lnTo>
                <a:lnTo>
                  <a:pt x="1632684" y="1588772"/>
                </a:lnTo>
                <a:lnTo>
                  <a:pt x="1607440" y="1610348"/>
                </a:lnTo>
                <a:lnTo>
                  <a:pt x="1561779" y="1556924"/>
                </a:lnTo>
                <a:lnTo>
                  <a:pt x="1615202" y="1511264"/>
                </a:lnTo>
                <a:lnTo>
                  <a:pt x="1652291" y="1554659"/>
                </a:lnTo>
                <a:lnTo>
                  <a:pt x="1660791" y="1553413"/>
                </a:lnTo>
                <a:lnTo>
                  <a:pt x="1655132" y="1551402"/>
                </a:lnTo>
                <a:lnTo>
                  <a:pt x="1693141" y="1444425"/>
                </a:lnTo>
                <a:lnTo>
                  <a:pt x="1744711" y="1462748"/>
                </a:lnTo>
                <a:lnTo>
                  <a:pt x="1740511" y="1419600"/>
                </a:lnTo>
                <a:lnTo>
                  <a:pt x="1781455" y="1415614"/>
                </a:lnTo>
                <a:lnTo>
                  <a:pt x="1781295" y="1410565"/>
                </a:lnTo>
                <a:lnTo>
                  <a:pt x="1777540" y="1292393"/>
                </a:lnTo>
                <a:lnTo>
                  <a:pt x="1777289" y="1284484"/>
                </a:lnTo>
                <a:lnTo>
                  <a:pt x="1768205" y="1296596"/>
                </a:lnTo>
                <a:lnTo>
                  <a:pt x="1750345" y="1283202"/>
                </a:lnTo>
                <a:lnTo>
                  <a:pt x="1763740" y="1265343"/>
                </a:lnTo>
                <a:lnTo>
                  <a:pt x="1776996" y="1275285"/>
                </a:lnTo>
                <a:lnTo>
                  <a:pt x="1776989" y="1275053"/>
                </a:lnTo>
                <a:lnTo>
                  <a:pt x="1801826" y="1274264"/>
                </a:lnTo>
                <a:lnTo>
                  <a:pt x="1774986" y="1174515"/>
                </a:lnTo>
                <a:lnTo>
                  <a:pt x="1873976" y="1147879"/>
                </a:lnTo>
                <a:lnTo>
                  <a:pt x="1857499" y="1120608"/>
                </a:lnTo>
                <a:lnTo>
                  <a:pt x="1855325" y="1121694"/>
                </a:lnTo>
                <a:lnTo>
                  <a:pt x="1844048" y="1099136"/>
                </a:lnTo>
                <a:lnTo>
                  <a:pt x="1844415" y="1098952"/>
                </a:lnTo>
                <a:lnTo>
                  <a:pt x="1837719" y="1087870"/>
                </a:lnTo>
                <a:lnTo>
                  <a:pt x="1950769" y="1019566"/>
                </a:lnTo>
                <a:lnTo>
                  <a:pt x="1929335" y="1017657"/>
                </a:lnTo>
                <a:lnTo>
                  <a:pt x="1935116" y="952748"/>
                </a:lnTo>
                <a:lnTo>
                  <a:pt x="1938406" y="953041"/>
                </a:lnTo>
                <a:lnTo>
                  <a:pt x="1926163" y="935826"/>
                </a:lnTo>
                <a:close/>
                <a:moveTo>
                  <a:pt x="2036528" y="845583"/>
                </a:moveTo>
                <a:lnTo>
                  <a:pt x="2120501" y="861374"/>
                </a:lnTo>
                <a:lnTo>
                  <a:pt x="2104710" y="945347"/>
                </a:lnTo>
                <a:lnTo>
                  <a:pt x="2020737" y="929556"/>
                </a:lnTo>
                <a:close/>
                <a:moveTo>
                  <a:pt x="2183841" y="775823"/>
                </a:moveTo>
                <a:lnTo>
                  <a:pt x="2242299" y="803282"/>
                </a:lnTo>
                <a:lnTo>
                  <a:pt x="2233229" y="822592"/>
                </a:lnTo>
                <a:lnTo>
                  <a:pt x="2308224" y="826352"/>
                </a:lnTo>
                <a:lnTo>
                  <a:pt x="2299842" y="993554"/>
                </a:lnTo>
                <a:lnTo>
                  <a:pt x="2281893" y="992654"/>
                </a:lnTo>
                <a:lnTo>
                  <a:pt x="2223383" y="1003401"/>
                </a:lnTo>
                <a:lnTo>
                  <a:pt x="2285716" y="1046162"/>
                </a:lnTo>
                <a:lnTo>
                  <a:pt x="2233139" y="1122804"/>
                </a:lnTo>
                <a:lnTo>
                  <a:pt x="2156497" y="1070228"/>
                </a:lnTo>
                <a:lnTo>
                  <a:pt x="2199307" y="1007823"/>
                </a:lnTo>
                <a:lnTo>
                  <a:pt x="2185722" y="1010318"/>
                </a:lnTo>
                <a:lnTo>
                  <a:pt x="2181554" y="987624"/>
                </a:lnTo>
                <a:lnTo>
                  <a:pt x="2132640" y="985172"/>
                </a:lnTo>
                <a:lnTo>
                  <a:pt x="2136292" y="912324"/>
                </a:lnTo>
                <a:lnTo>
                  <a:pt x="2135490" y="912453"/>
                </a:lnTo>
                <a:lnTo>
                  <a:pt x="2133763" y="901753"/>
                </a:lnTo>
                <a:lnTo>
                  <a:pt x="2136847" y="901255"/>
                </a:lnTo>
                <a:lnTo>
                  <a:pt x="2141022" y="817970"/>
                </a:lnTo>
                <a:lnTo>
                  <a:pt x="2163514" y="819098"/>
                </a:lnTo>
                <a:close/>
                <a:moveTo>
                  <a:pt x="2321559" y="753240"/>
                </a:moveTo>
                <a:lnTo>
                  <a:pt x="2323559" y="766071"/>
                </a:lnTo>
                <a:lnTo>
                  <a:pt x="2310728" y="768071"/>
                </a:lnTo>
                <a:lnTo>
                  <a:pt x="2308728" y="755240"/>
                </a:lnTo>
                <a:close/>
                <a:moveTo>
                  <a:pt x="2194198" y="584306"/>
                </a:moveTo>
                <a:lnTo>
                  <a:pt x="2179809" y="591340"/>
                </a:lnTo>
                <a:lnTo>
                  <a:pt x="2180771" y="596706"/>
                </a:lnTo>
                <a:close/>
                <a:moveTo>
                  <a:pt x="2239121" y="481751"/>
                </a:moveTo>
                <a:lnTo>
                  <a:pt x="2229525" y="544460"/>
                </a:lnTo>
                <a:lnTo>
                  <a:pt x="2179253" y="536767"/>
                </a:lnTo>
                <a:lnTo>
                  <a:pt x="2199911" y="579031"/>
                </a:lnTo>
                <a:lnTo>
                  <a:pt x="2211541" y="568292"/>
                </a:lnTo>
                <a:lnTo>
                  <a:pt x="2219704" y="577132"/>
                </a:lnTo>
                <a:lnTo>
                  <a:pt x="2219801" y="575545"/>
                </a:lnTo>
                <a:lnTo>
                  <a:pt x="2241574" y="576873"/>
                </a:lnTo>
                <a:lnTo>
                  <a:pt x="2240841" y="588886"/>
                </a:lnTo>
                <a:lnTo>
                  <a:pt x="2254296" y="568611"/>
                </a:lnTo>
                <a:lnTo>
                  <a:pt x="2237990" y="568312"/>
                </a:lnTo>
                <a:lnTo>
                  <a:pt x="2239472" y="487414"/>
                </a:lnTo>
                <a:lnTo>
                  <a:pt x="2244796" y="487511"/>
                </a:lnTo>
                <a:close/>
                <a:moveTo>
                  <a:pt x="2253586" y="400178"/>
                </a:moveTo>
                <a:lnTo>
                  <a:pt x="2300992" y="448301"/>
                </a:lnTo>
                <a:lnTo>
                  <a:pt x="2260889" y="487806"/>
                </a:lnTo>
                <a:lnTo>
                  <a:pt x="2306837" y="488649"/>
                </a:lnTo>
                <a:lnTo>
                  <a:pt x="2346446" y="424264"/>
                </a:lnTo>
                <a:lnTo>
                  <a:pt x="2420411" y="469768"/>
                </a:lnTo>
                <a:lnTo>
                  <a:pt x="2385019" y="527297"/>
                </a:lnTo>
                <a:lnTo>
                  <a:pt x="2464405" y="579981"/>
                </a:lnTo>
                <a:lnTo>
                  <a:pt x="2375602" y="713792"/>
                </a:lnTo>
                <a:lnTo>
                  <a:pt x="2374770" y="743781"/>
                </a:lnTo>
                <a:lnTo>
                  <a:pt x="2280680" y="741169"/>
                </a:lnTo>
                <a:lnTo>
                  <a:pt x="2272146" y="747793"/>
                </a:lnTo>
                <a:lnTo>
                  <a:pt x="2266703" y="740781"/>
                </a:lnTo>
                <a:lnTo>
                  <a:pt x="2246158" y="740211"/>
                </a:lnTo>
                <a:lnTo>
                  <a:pt x="2246652" y="722406"/>
                </a:lnTo>
                <a:lnTo>
                  <a:pt x="2243776" y="725062"/>
                </a:lnTo>
                <a:lnTo>
                  <a:pt x="2247335" y="768441"/>
                </a:lnTo>
                <a:lnTo>
                  <a:pt x="2196178" y="772638"/>
                </a:lnTo>
                <a:lnTo>
                  <a:pt x="2194470" y="751812"/>
                </a:lnTo>
                <a:lnTo>
                  <a:pt x="2110857" y="661265"/>
                </a:lnTo>
                <a:lnTo>
                  <a:pt x="2123344" y="649735"/>
                </a:lnTo>
                <a:lnTo>
                  <a:pt x="2122625" y="648009"/>
                </a:lnTo>
                <a:lnTo>
                  <a:pt x="2127339" y="646045"/>
                </a:lnTo>
                <a:lnTo>
                  <a:pt x="2139098" y="635187"/>
                </a:lnTo>
                <a:lnTo>
                  <a:pt x="2086115" y="644682"/>
                </a:lnTo>
                <a:lnTo>
                  <a:pt x="2083176" y="656231"/>
                </a:lnTo>
                <a:lnTo>
                  <a:pt x="2063899" y="651324"/>
                </a:lnTo>
                <a:lnTo>
                  <a:pt x="2090616" y="703964"/>
                </a:lnTo>
                <a:lnTo>
                  <a:pt x="2060777" y="719109"/>
                </a:lnTo>
                <a:lnTo>
                  <a:pt x="2082657" y="761849"/>
                </a:lnTo>
                <a:lnTo>
                  <a:pt x="2100056" y="749410"/>
                </a:lnTo>
                <a:lnTo>
                  <a:pt x="2101022" y="741992"/>
                </a:lnTo>
                <a:lnTo>
                  <a:pt x="2108983" y="743029"/>
                </a:lnTo>
                <a:lnTo>
                  <a:pt x="2114799" y="738871"/>
                </a:lnTo>
                <a:lnTo>
                  <a:pt x="2159455" y="801338"/>
                </a:lnTo>
                <a:lnTo>
                  <a:pt x="2096988" y="845994"/>
                </a:lnTo>
                <a:lnTo>
                  <a:pt x="2075736" y="816266"/>
                </a:lnTo>
                <a:lnTo>
                  <a:pt x="2011806" y="848994"/>
                </a:lnTo>
                <a:lnTo>
                  <a:pt x="2014784" y="849643"/>
                </a:lnTo>
                <a:lnTo>
                  <a:pt x="2009691" y="873020"/>
                </a:lnTo>
                <a:lnTo>
                  <a:pt x="1986314" y="867927"/>
                </a:lnTo>
                <a:lnTo>
                  <a:pt x="1987756" y="861306"/>
                </a:lnTo>
                <a:lnTo>
                  <a:pt x="1981396" y="864562"/>
                </a:lnTo>
                <a:lnTo>
                  <a:pt x="1918991" y="742665"/>
                </a:lnTo>
                <a:lnTo>
                  <a:pt x="2000942" y="700710"/>
                </a:lnTo>
                <a:lnTo>
                  <a:pt x="1985100" y="669496"/>
                </a:lnTo>
                <a:lnTo>
                  <a:pt x="2035264" y="644036"/>
                </a:lnTo>
                <a:lnTo>
                  <a:pt x="2006020" y="636593"/>
                </a:lnTo>
                <a:lnTo>
                  <a:pt x="2025658" y="559436"/>
                </a:lnTo>
                <a:lnTo>
                  <a:pt x="2051605" y="566041"/>
                </a:lnTo>
                <a:lnTo>
                  <a:pt x="2030304" y="522464"/>
                </a:lnTo>
                <a:lnTo>
                  <a:pt x="2046866" y="514368"/>
                </a:lnTo>
                <a:lnTo>
                  <a:pt x="2039974" y="477758"/>
                </a:lnTo>
                <a:lnTo>
                  <a:pt x="2090685" y="468212"/>
                </a:lnTo>
                <a:lnTo>
                  <a:pt x="2094949" y="490865"/>
                </a:lnTo>
                <a:lnTo>
                  <a:pt x="2144884" y="466456"/>
                </a:lnTo>
                <a:lnTo>
                  <a:pt x="2147249" y="471295"/>
                </a:lnTo>
                <a:lnTo>
                  <a:pt x="2152168" y="439150"/>
                </a:lnTo>
                <a:lnTo>
                  <a:pt x="2205707" y="447343"/>
                </a:lnTo>
                <a:close/>
                <a:moveTo>
                  <a:pt x="2232299" y="393983"/>
                </a:moveTo>
                <a:lnTo>
                  <a:pt x="2233019" y="405582"/>
                </a:lnTo>
                <a:lnTo>
                  <a:pt x="2221419" y="406302"/>
                </a:lnTo>
                <a:lnTo>
                  <a:pt x="2220699" y="394702"/>
                </a:lnTo>
                <a:close/>
                <a:moveTo>
                  <a:pt x="2289412" y="170263"/>
                </a:moveTo>
                <a:lnTo>
                  <a:pt x="2302616" y="189093"/>
                </a:lnTo>
                <a:lnTo>
                  <a:pt x="2400832" y="209325"/>
                </a:lnTo>
                <a:close/>
                <a:moveTo>
                  <a:pt x="966418" y="68683"/>
                </a:moveTo>
                <a:lnTo>
                  <a:pt x="1395104" y="68683"/>
                </a:lnTo>
                <a:lnTo>
                  <a:pt x="1395104" y="497369"/>
                </a:lnTo>
                <a:lnTo>
                  <a:pt x="966418" y="497369"/>
                </a:lnTo>
                <a:close/>
                <a:moveTo>
                  <a:pt x="185253" y="68683"/>
                </a:moveTo>
                <a:lnTo>
                  <a:pt x="613939" y="68683"/>
                </a:lnTo>
                <a:lnTo>
                  <a:pt x="613939" y="497369"/>
                </a:lnTo>
                <a:lnTo>
                  <a:pt x="185253" y="497369"/>
                </a:lnTo>
                <a:close/>
                <a:moveTo>
                  <a:pt x="2133767" y="0"/>
                </a:moveTo>
                <a:lnTo>
                  <a:pt x="2249874" y="85289"/>
                </a:lnTo>
                <a:lnTo>
                  <a:pt x="2240349" y="98255"/>
                </a:lnTo>
                <a:lnTo>
                  <a:pt x="2278098" y="112655"/>
                </a:lnTo>
                <a:lnTo>
                  <a:pt x="2278233" y="112264"/>
                </a:lnTo>
                <a:lnTo>
                  <a:pt x="2289713" y="116242"/>
                </a:lnTo>
                <a:lnTo>
                  <a:pt x="2320444" y="28587"/>
                </a:lnTo>
                <a:lnTo>
                  <a:pt x="2456300" y="76217"/>
                </a:lnTo>
                <a:lnTo>
                  <a:pt x="2409042" y="211016"/>
                </a:lnTo>
                <a:lnTo>
                  <a:pt x="2435454" y="216457"/>
                </a:lnTo>
                <a:lnTo>
                  <a:pt x="2405348" y="362600"/>
                </a:lnTo>
                <a:lnTo>
                  <a:pt x="2375077" y="356365"/>
                </a:lnTo>
                <a:lnTo>
                  <a:pt x="2370897" y="403303"/>
                </a:lnTo>
                <a:lnTo>
                  <a:pt x="2321713" y="398923"/>
                </a:lnTo>
                <a:lnTo>
                  <a:pt x="2330526" y="425932"/>
                </a:lnTo>
                <a:lnTo>
                  <a:pt x="2297629" y="436666"/>
                </a:lnTo>
                <a:lnTo>
                  <a:pt x="2286895" y="403771"/>
                </a:lnTo>
                <a:lnTo>
                  <a:pt x="2306032" y="397526"/>
                </a:lnTo>
                <a:lnTo>
                  <a:pt x="2305988" y="397522"/>
                </a:lnTo>
                <a:lnTo>
                  <a:pt x="2310832" y="343130"/>
                </a:lnTo>
                <a:lnTo>
                  <a:pt x="2276368" y="336030"/>
                </a:lnTo>
                <a:lnTo>
                  <a:pt x="2255311" y="348222"/>
                </a:lnTo>
                <a:lnTo>
                  <a:pt x="2230822" y="305925"/>
                </a:lnTo>
                <a:lnTo>
                  <a:pt x="2269263" y="283669"/>
                </a:lnTo>
                <a:lnTo>
                  <a:pt x="2273218" y="264467"/>
                </a:lnTo>
                <a:lnTo>
                  <a:pt x="2230076" y="294721"/>
                </a:lnTo>
                <a:lnTo>
                  <a:pt x="2173587" y="214165"/>
                </a:lnTo>
                <a:lnTo>
                  <a:pt x="2143751" y="247325"/>
                </a:lnTo>
                <a:lnTo>
                  <a:pt x="2144162" y="248415"/>
                </a:lnTo>
                <a:lnTo>
                  <a:pt x="2226609" y="294815"/>
                </a:lnTo>
                <a:lnTo>
                  <a:pt x="2177632" y="381841"/>
                </a:lnTo>
                <a:lnTo>
                  <a:pt x="2160811" y="372374"/>
                </a:lnTo>
                <a:lnTo>
                  <a:pt x="2165772" y="434391"/>
                </a:lnTo>
                <a:lnTo>
                  <a:pt x="2051665" y="443519"/>
                </a:lnTo>
                <a:lnTo>
                  <a:pt x="2046727" y="381793"/>
                </a:lnTo>
                <a:lnTo>
                  <a:pt x="2006515" y="396932"/>
                </a:lnTo>
                <a:lnTo>
                  <a:pt x="1942691" y="227401"/>
                </a:lnTo>
                <a:lnTo>
                  <a:pt x="2045004" y="188883"/>
                </a:lnTo>
                <a:lnTo>
                  <a:pt x="2029745" y="175154"/>
                </a:lnTo>
                <a:lnTo>
                  <a:pt x="2052088" y="150322"/>
                </a:lnTo>
                <a:lnTo>
                  <a:pt x="2048967" y="151663"/>
                </a:lnTo>
                <a:lnTo>
                  <a:pt x="2044298" y="140796"/>
                </a:lnTo>
                <a:lnTo>
                  <a:pt x="2055164" y="136128"/>
                </a:lnTo>
                <a:lnTo>
                  <a:pt x="2058298" y="143421"/>
                </a:lnTo>
                <a:lnTo>
                  <a:pt x="2069187" y="131319"/>
                </a:lnTo>
                <a:lnTo>
                  <a:pt x="2048478" y="116107"/>
                </a:lnTo>
                <a:close/>
              </a:path>
            </a:pathLst>
          </a:custGeom>
          <a:gradFill flip="none" rotWithShape="1">
            <a:gsLst>
              <a:gs pos="2200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33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B24AE916-8A4D-4DF2-9F4C-22DF6430231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DC7D11F0-152B-4FA1-B150-F2A17C3CAB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3E925F9F-F667-4D02-92AA-F17D97A38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9" name="Rectangle 10">
              <a:extLst>
                <a:ext uri="{FF2B5EF4-FFF2-40B4-BE49-F238E27FC236}">
                  <a16:creationId xmlns:a16="http://schemas.microsoft.com/office/drawing/2014/main" id="{08A80DFA-6438-4171-84EF-A9F4FFEC20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EC3E6D59-898E-4F7A-A653-200582B8A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1" name="Rectangle 12">
              <a:extLst>
                <a:ext uri="{FF2B5EF4-FFF2-40B4-BE49-F238E27FC236}">
                  <a16:creationId xmlns:a16="http://schemas.microsoft.com/office/drawing/2014/main" id="{31F9402B-3B48-4DA8-A1B7-B8B388CCFE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2" name="Rectangle 13">
              <a:extLst>
                <a:ext uri="{FF2B5EF4-FFF2-40B4-BE49-F238E27FC236}">
                  <a16:creationId xmlns:a16="http://schemas.microsoft.com/office/drawing/2014/main" id="{B49D0F65-3FA6-488A-9471-D652ADED19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3" name="Rectangle 14">
              <a:extLst>
                <a:ext uri="{FF2B5EF4-FFF2-40B4-BE49-F238E27FC236}">
                  <a16:creationId xmlns:a16="http://schemas.microsoft.com/office/drawing/2014/main" id="{DDA164F6-F271-4C07-86DE-B892EA9D98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85AD4D-D2CC-4B08-A3B0-2ED95ACDA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492" y="1211720"/>
            <a:ext cx="7799177" cy="5129009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10689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BE187-2F3D-4FB4-BB7E-78EB023E85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29" name="Freeform 8"/>
          <p:cNvSpPr>
            <a:spLocks/>
          </p:cNvSpPr>
          <p:nvPr/>
        </p:nvSpPr>
        <p:spPr bwMode="auto">
          <a:xfrm>
            <a:off x="1644736" y="554412"/>
            <a:ext cx="311345" cy="544138"/>
          </a:xfrm>
          <a:custGeom>
            <a:avLst/>
            <a:gdLst>
              <a:gd name="T0" fmla="*/ 0 w 332"/>
              <a:gd name="T1" fmla="*/ 0 h 551"/>
              <a:gd name="T2" fmla="*/ 834380475 w 332"/>
              <a:gd name="T3" fmla="*/ 0 h 551"/>
              <a:gd name="T4" fmla="*/ 834380475 w 332"/>
              <a:gd name="T5" fmla="*/ 326553043 h 551"/>
              <a:gd name="T6" fmla="*/ 331741635 w 332"/>
              <a:gd name="T7" fmla="*/ 326553043 h 551"/>
              <a:gd name="T8" fmla="*/ 331741635 w 332"/>
              <a:gd name="T9" fmla="*/ 530021499 h 551"/>
              <a:gd name="T10" fmla="*/ 743905484 w 332"/>
              <a:gd name="T11" fmla="*/ 530021499 h 551"/>
              <a:gd name="T12" fmla="*/ 743905484 w 332"/>
              <a:gd name="T13" fmla="*/ 851550649 h 551"/>
              <a:gd name="T14" fmla="*/ 331741635 w 332"/>
              <a:gd name="T15" fmla="*/ 851550649 h 551"/>
              <a:gd name="T16" fmla="*/ 331741635 w 332"/>
              <a:gd name="T17" fmla="*/ 1062554154 h 551"/>
              <a:gd name="T18" fmla="*/ 834380475 w 332"/>
              <a:gd name="T19" fmla="*/ 1062554154 h 551"/>
              <a:gd name="T20" fmla="*/ 834380475 w 332"/>
              <a:gd name="T21" fmla="*/ 1384083304 h 551"/>
              <a:gd name="T22" fmla="*/ 0 w 332"/>
              <a:gd name="T23" fmla="*/ 1384083304 h 551"/>
              <a:gd name="T24" fmla="*/ 0 w 332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2" h="551">
                <a:moveTo>
                  <a:pt x="0" y="0"/>
                </a:moveTo>
                <a:lnTo>
                  <a:pt x="332" y="0"/>
                </a:lnTo>
                <a:lnTo>
                  <a:pt x="332" y="130"/>
                </a:lnTo>
                <a:lnTo>
                  <a:pt x="132" y="130"/>
                </a:lnTo>
                <a:lnTo>
                  <a:pt x="132" y="211"/>
                </a:lnTo>
                <a:lnTo>
                  <a:pt x="296" y="211"/>
                </a:lnTo>
                <a:lnTo>
                  <a:pt x="296" y="339"/>
                </a:lnTo>
                <a:lnTo>
                  <a:pt x="132" y="339"/>
                </a:lnTo>
                <a:lnTo>
                  <a:pt x="132" y="423"/>
                </a:lnTo>
                <a:lnTo>
                  <a:pt x="332" y="423"/>
                </a:lnTo>
                <a:lnTo>
                  <a:pt x="332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9"/>
          <p:cNvSpPr>
            <a:spLocks/>
          </p:cNvSpPr>
          <p:nvPr/>
        </p:nvSpPr>
        <p:spPr bwMode="auto">
          <a:xfrm>
            <a:off x="1206394" y="545775"/>
            <a:ext cx="385086" cy="565732"/>
          </a:xfrm>
          <a:custGeom>
            <a:avLst/>
            <a:gdLst>
              <a:gd name="T0" fmla="*/ 1281005241 w 228"/>
              <a:gd name="T1" fmla="*/ 1005742145 h 317"/>
              <a:gd name="T2" fmla="*/ 1158616841 w 228"/>
              <a:gd name="T3" fmla="*/ 695025501 h 317"/>
              <a:gd name="T4" fmla="*/ 946475046 w 228"/>
              <a:gd name="T5" fmla="*/ 605079780 h 317"/>
              <a:gd name="T6" fmla="*/ 693538069 w 228"/>
              <a:gd name="T7" fmla="*/ 801321871 h 317"/>
              <a:gd name="T8" fmla="*/ 611944852 w 228"/>
              <a:gd name="T9" fmla="*/ 1324636972 h 317"/>
              <a:gd name="T10" fmla="*/ 954635223 w 228"/>
              <a:gd name="T11" fmla="*/ 1995130782 h 317"/>
              <a:gd name="T12" fmla="*/ 1281005241 w 228"/>
              <a:gd name="T13" fmla="*/ 1561761402 h 317"/>
              <a:gd name="T14" fmla="*/ 1860312235 w 228"/>
              <a:gd name="T15" fmla="*/ 1561761402 h 317"/>
              <a:gd name="T16" fmla="*/ 1607375258 w 228"/>
              <a:gd name="T17" fmla="*/ 2147483647 h 317"/>
              <a:gd name="T18" fmla="*/ 987270229 w 228"/>
              <a:gd name="T19" fmla="*/ 2147483647 h 317"/>
              <a:gd name="T20" fmla="*/ 465078772 w 228"/>
              <a:gd name="T21" fmla="*/ 2147483647 h 317"/>
              <a:gd name="T22" fmla="*/ 130548577 w 228"/>
              <a:gd name="T23" fmla="*/ 2003308966 h 317"/>
              <a:gd name="T24" fmla="*/ 0 w 228"/>
              <a:gd name="T25" fmla="*/ 1324636972 h 317"/>
              <a:gd name="T26" fmla="*/ 130548577 w 228"/>
              <a:gd name="T27" fmla="*/ 580550948 h 317"/>
              <a:gd name="T28" fmla="*/ 489556452 w 228"/>
              <a:gd name="T29" fmla="*/ 139006244 h 317"/>
              <a:gd name="T30" fmla="*/ 921997366 w 228"/>
              <a:gd name="T31" fmla="*/ 0 h 317"/>
              <a:gd name="T32" fmla="*/ 1615535435 w 228"/>
              <a:gd name="T33" fmla="*/ 302541320 h 317"/>
              <a:gd name="T34" fmla="*/ 1843994732 w 228"/>
              <a:gd name="T35" fmla="*/ 1005742145 h 317"/>
              <a:gd name="T36" fmla="*/ 1281005241 w 228"/>
              <a:gd name="T37" fmla="*/ 1005742145 h 3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28" h="317">
                <a:moveTo>
                  <a:pt x="157" y="123"/>
                </a:moveTo>
                <a:cubicBezTo>
                  <a:pt x="154" y="105"/>
                  <a:pt x="148" y="91"/>
                  <a:pt x="142" y="85"/>
                </a:cubicBezTo>
                <a:cubicBezTo>
                  <a:pt x="133" y="78"/>
                  <a:pt x="124" y="74"/>
                  <a:pt x="116" y="74"/>
                </a:cubicBezTo>
                <a:cubicBezTo>
                  <a:pt x="102" y="74"/>
                  <a:pt x="91" y="83"/>
                  <a:pt x="85" y="98"/>
                </a:cubicBezTo>
                <a:cubicBezTo>
                  <a:pt x="78" y="116"/>
                  <a:pt x="75" y="137"/>
                  <a:pt x="75" y="162"/>
                </a:cubicBezTo>
                <a:cubicBezTo>
                  <a:pt x="75" y="216"/>
                  <a:pt x="89" y="244"/>
                  <a:pt x="117" y="244"/>
                </a:cubicBezTo>
                <a:cubicBezTo>
                  <a:pt x="139" y="244"/>
                  <a:pt x="153" y="225"/>
                  <a:pt x="157" y="191"/>
                </a:cubicBezTo>
                <a:cubicBezTo>
                  <a:pt x="228" y="191"/>
                  <a:pt x="228" y="191"/>
                  <a:pt x="228" y="191"/>
                </a:cubicBezTo>
                <a:cubicBezTo>
                  <a:pt x="225" y="229"/>
                  <a:pt x="215" y="260"/>
                  <a:pt x="197" y="283"/>
                </a:cubicBezTo>
                <a:cubicBezTo>
                  <a:pt x="178" y="306"/>
                  <a:pt x="151" y="317"/>
                  <a:pt x="121" y="317"/>
                </a:cubicBezTo>
                <a:cubicBezTo>
                  <a:pt x="97" y="317"/>
                  <a:pt x="75" y="311"/>
                  <a:pt x="57" y="299"/>
                </a:cubicBezTo>
                <a:cubicBezTo>
                  <a:pt x="38" y="287"/>
                  <a:pt x="25" y="269"/>
                  <a:pt x="16" y="245"/>
                </a:cubicBezTo>
                <a:cubicBezTo>
                  <a:pt x="6" y="223"/>
                  <a:pt x="0" y="193"/>
                  <a:pt x="0" y="162"/>
                </a:cubicBezTo>
                <a:cubicBezTo>
                  <a:pt x="0" y="127"/>
                  <a:pt x="6" y="96"/>
                  <a:pt x="16" y="71"/>
                </a:cubicBezTo>
                <a:cubicBezTo>
                  <a:pt x="28" y="47"/>
                  <a:pt x="43" y="28"/>
                  <a:pt x="60" y="17"/>
                </a:cubicBezTo>
                <a:cubicBezTo>
                  <a:pt x="77" y="7"/>
                  <a:pt x="96" y="0"/>
                  <a:pt x="113" y="0"/>
                </a:cubicBezTo>
                <a:cubicBezTo>
                  <a:pt x="152" y="1"/>
                  <a:pt x="182" y="15"/>
                  <a:pt x="198" y="37"/>
                </a:cubicBezTo>
                <a:cubicBezTo>
                  <a:pt x="214" y="61"/>
                  <a:pt x="224" y="90"/>
                  <a:pt x="226" y="123"/>
                </a:cubicBezTo>
                <a:lnTo>
                  <a:pt x="157" y="1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1034335" y="554412"/>
            <a:ext cx="126995" cy="5441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>
            <a:off x="600089" y="554412"/>
            <a:ext cx="364601" cy="544138"/>
          </a:xfrm>
          <a:custGeom>
            <a:avLst/>
            <a:gdLst>
              <a:gd name="T0" fmla="*/ 0 w 386"/>
              <a:gd name="T1" fmla="*/ 0 h 551"/>
              <a:gd name="T2" fmla="*/ 301231077 w 386"/>
              <a:gd name="T3" fmla="*/ 0 h 551"/>
              <a:gd name="T4" fmla="*/ 655619642 w 386"/>
              <a:gd name="T5" fmla="*/ 766144469 h 551"/>
              <a:gd name="T6" fmla="*/ 655619642 w 386"/>
              <a:gd name="T7" fmla="*/ 462198153 h 551"/>
              <a:gd name="T8" fmla="*/ 655619642 w 386"/>
              <a:gd name="T9" fmla="*/ 0 h 551"/>
              <a:gd name="T10" fmla="*/ 977099900 w 386"/>
              <a:gd name="T11" fmla="*/ 0 h 551"/>
              <a:gd name="T12" fmla="*/ 977099900 w 386"/>
              <a:gd name="T13" fmla="*/ 1384083304 h 551"/>
              <a:gd name="T14" fmla="*/ 660682336 w 386"/>
              <a:gd name="T15" fmla="*/ 1384083304 h 551"/>
              <a:gd name="T16" fmla="*/ 313887015 w 386"/>
              <a:gd name="T17" fmla="*/ 638034407 h 551"/>
              <a:gd name="T18" fmla="*/ 313887015 w 386"/>
              <a:gd name="T19" fmla="*/ 959563557 h 551"/>
              <a:gd name="T20" fmla="*/ 313887015 w 386"/>
              <a:gd name="T21" fmla="*/ 1384083304 h 551"/>
              <a:gd name="T22" fmla="*/ 0 w 386"/>
              <a:gd name="T23" fmla="*/ 1384083304 h 551"/>
              <a:gd name="T24" fmla="*/ 0 w 386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86" h="551">
                <a:moveTo>
                  <a:pt x="0" y="0"/>
                </a:moveTo>
                <a:lnTo>
                  <a:pt x="119" y="0"/>
                </a:lnTo>
                <a:lnTo>
                  <a:pt x="259" y="305"/>
                </a:lnTo>
                <a:lnTo>
                  <a:pt x="259" y="184"/>
                </a:lnTo>
                <a:lnTo>
                  <a:pt x="259" y="0"/>
                </a:lnTo>
                <a:lnTo>
                  <a:pt x="386" y="0"/>
                </a:lnTo>
                <a:lnTo>
                  <a:pt x="386" y="551"/>
                </a:lnTo>
                <a:lnTo>
                  <a:pt x="261" y="551"/>
                </a:lnTo>
                <a:lnTo>
                  <a:pt x="124" y="254"/>
                </a:lnTo>
                <a:lnTo>
                  <a:pt x="124" y="382"/>
                </a:lnTo>
                <a:lnTo>
                  <a:pt x="124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1591480" y="766023"/>
            <a:ext cx="114707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1161329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9" name="Rectangle 14"/>
          <p:cNvSpPr>
            <a:spLocks noChangeArrowheads="1"/>
          </p:cNvSpPr>
          <p:nvPr/>
        </p:nvSpPr>
        <p:spPr bwMode="auto">
          <a:xfrm>
            <a:off x="923723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C63BFD-F389-45A0-A56C-4A1D4510FC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9545793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4C7864-D369-425A-9BD0-E9695D2223B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-1597" y="-3552"/>
            <a:ext cx="8921162" cy="310494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31201" y="241159"/>
            <a:ext cx="8201160" cy="2586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Quotation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921162" y="1"/>
            <a:ext cx="3270837" cy="31056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19746" name="Freeform: Shape 19745">
            <a:extLst>
              <a:ext uri="{FF2B5EF4-FFF2-40B4-BE49-F238E27FC236}">
                <a16:creationId xmlns:a16="http://schemas.microsoft.com/office/drawing/2014/main" id="{8C3B3E00-D1C1-453B-8A8C-BB9AA64779E4}"/>
              </a:ext>
            </a:extLst>
          </p:cNvPr>
          <p:cNvSpPr/>
          <p:nvPr/>
        </p:nvSpPr>
        <p:spPr>
          <a:xfrm>
            <a:off x="9865316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7" name="Freeform: Shape 19746">
            <a:extLst>
              <a:ext uri="{FF2B5EF4-FFF2-40B4-BE49-F238E27FC236}">
                <a16:creationId xmlns:a16="http://schemas.microsoft.com/office/drawing/2014/main" id="{0DCCBABF-42E0-48A1-9F81-4EFE005A8E45}"/>
              </a:ext>
            </a:extLst>
          </p:cNvPr>
          <p:cNvSpPr/>
          <p:nvPr/>
        </p:nvSpPr>
        <p:spPr>
          <a:xfrm>
            <a:off x="10505393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8" name="Freeform: Shape 19747">
            <a:extLst>
              <a:ext uri="{FF2B5EF4-FFF2-40B4-BE49-F238E27FC236}">
                <a16:creationId xmlns:a16="http://schemas.microsoft.com/office/drawing/2014/main" id="{77795AA3-A3E1-4CA9-BBC5-44FA2418EB5C}"/>
              </a:ext>
            </a:extLst>
          </p:cNvPr>
          <p:cNvSpPr/>
          <p:nvPr/>
        </p:nvSpPr>
        <p:spPr>
          <a:xfrm>
            <a:off x="9640592" y="704520"/>
            <a:ext cx="2032569" cy="169792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70000">
                <a:schemeClr val="accent6"/>
              </a:gs>
            </a:gsLst>
            <a:lin ang="72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33574A-8AAF-4403-9ED6-C4179696D6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199" y="3285411"/>
            <a:ext cx="11241960" cy="310569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781541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AD6849-06D8-44B1-AEB2-15ECF7F10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81319" y="1"/>
            <a:ext cx="2520950" cy="68580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9" name="Graphic 6">
            <a:extLst>
              <a:ext uri="{FF2B5EF4-FFF2-40B4-BE49-F238E27FC236}">
                <a16:creationId xmlns:a16="http://schemas.microsoft.com/office/drawing/2014/main" id="{D5F6F97D-98C2-4B3F-A647-15F1227642A9}"/>
              </a:ext>
            </a:extLst>
          </p:cNvPr>
          <p:cNvGrpSpPr/>
          <p:nvPr/>
        </p:nvGrpSpPr>
        <p:grpSpPr>
          <a:xfrm>
            <a:off x="5549634" y="4932240"/>
            <a:ext cx="1419758" cy="1186007"/>
            <a:chOff x="673858" y="4919794"/>
            <a:chExt cx="1879453" cy="1570015"/>
          </a:xfrm>
          <a:solidFill>
            <a:schemeClr val="bg1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CF03E24-B0DC-4698-9E8F-BBB775AC0A08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B0D968-007F-4F7B-88B9-7B17AA675AAD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CBB4F4-3D8B-4E61-9C39-E260DEE16149}"/>
                </a:ext>
              </a:extLst>
            </p:cNvPr>
            <p:cNvSpPr/>
            <p:nvPr/>
          </p:nvSpPr>
          <p:spPr>
            <a:xfrm>
              <a:off x="673858" y="4919794"/>
              <a:ext cx="1879453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F07A6D-68BC-44C4-989B-94B4ED48E4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3544" y="2775445"/>
            <a:ext cx="2462215" cy="1038225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32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ctr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Short Title He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1C7E18F-C558-4D98-B610-2116BF5323A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6225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B3DD3F0-B1D3-411E-BB72-A63A5F6540E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54517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FB19710-9E2E-4880-9BAF-87D27839115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6225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6A7ABEE-50E0-4A7F-AA99-B1B0B541E7D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554517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58455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1C52864-78F1-40B1-9432-60975033529F}"/>
              </a:ext>
            </a:extLst>
          </p:cNvPr>
          <p:cNvSpPr/>
          <p:nvPr/>
        </p:nvSpPr>
        <p:spPr>
          <a:xfrm>
            <a:off x="0" y="0"/>
            <a:ext cx="328781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131603" y="6364007"/>
            <a:ext cx="85703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aphic 6">
            <a:extLst>
              <a:ext uri="{FF2B5EF4-FFF2-40B4-BE49-F238E27FC236}">
                <a16:creationId xmlns:a16="http://schemas.microsoft.com/office/drawing/2014/main" id="{8C5CC02B-1366-4CC9-866A-DA6482ADC3CE}"/>
              </a:ext>
            </a:extLst>
          </p:cNvPr>
          <p:cNvGrpSpPr/>
          <p:nvPr/>
        </p:nvGrpSpPr>
        <p:grpSpPr>
          <a:xfrm>
            <a:off x="2157380" y="5830521"/>
            <a:ext cx="857031" cy="716048"/>
            <a:chOff x="675385" y="4919794"/>
            <a:chExt cx="1876897" cy="1568143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3402946-78DC-48C6-B087-A57DB7DCC3E2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2AE3E35-ECB9-4682-BE5F-669BA104183B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98D658B-EA8B-452B-9D06-D5324DCF8E2B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7" name="Rectangle 25">
            <a:extLst>
              <a:ext uri="{FF2B5EF4-FFF2-40B4-BE49-F238E27FC236}">
                <a16:creationId xmlns:a16="http://schemas.microsoft.com/office/drawing/2014/main" id="{5891C306-56E0-439D-947A-FA5D84C19E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020" y="2370034"/>
            <a:ext cx="2763843" cy="279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kern="1200" cap="none" baseline="0" dirty="0">
                <a:solidFill>
                  <a:schemeClr val="bg1"/>
                </a:solidFill>
                <a:latin typeface="Lexend" pitchFamily="2" charset="0"/>
                <a:ea typeface="+mj-ea"/>
                <a:cs typeface="Arial" panose="020B0604020202020204" pitchFamily="34" charset="0"/>
              </a:defRPr>
            </a:lvl1pPr>
            <a:lvl2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2pPr>
            <a:lvl3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3pPr>
            <a:lvl4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4pPr>
            <a:lvl5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5pPr>
            <a:lvl6pPr marL="543478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6pPr>
            <a:lvl7pPr marL="108695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7pPr>
            <a:lvl8pPr marL="1630422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8pPr>
            <a:lvl9pPr marL="217390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200">
                <a:latin typeface="+mj-lt"/>
              </a:rPr>
              <a:t>Short Title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6AC41DE-9543-4E4B-A431-28D24FEC40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24571" y="732128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47A1799-8341-4B4C-821F-3BB401CE11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4571" y="2285887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784DDC21-CB66-455C-A708-3022D812D4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4571" y="3871526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94A2910-97CB-4134-8A3E-D59868181BB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24571" y="5331859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0981812-0AA4-409C-A34F-AE34EA31272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81446" y="404309"/>
            <a:ext cx="1482725" cy="148113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5B73B68-34D5-4789-BB91-3086939F26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81446" y="3511827"/>
            <a:ext cx="1482725" cy="148113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307B918D-1A9E-4F2B-A99B-978887039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1446" y="5065585"/>
            <a:ext cx="1482725" cy="1481138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23CDFA8C-43FC-49AA-A758-EBB719E217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81446" y="1958068"/>
            <a:ext cx="1482725" cy="1481138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21181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6" y="1114424"/>
            <a:ext cx="12170763" cy="5743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1127570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ED363F-12FB-4FA5-84D7-7C6BFB40357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933F2D-5731-4CD8-A69C-C5F8F5DD5322}"/>
              </a:ext>
            </a:extLst>
          </p:cNvPr>
          <p:cNvGrpSpPr/>
          <p:nvPr/>
        </p:nvGrpSpPr>
        <p:grpSpPr>
          <a:xfrm>
            <a:off x="773247" y="4108877"/>
            <a:ext cx="2400260" cy="2005077"/>
            <a:chOff x="-64314" y="1184277"/>
            <a:chExt cx="4292803" cy="3586028"/>
          </a:xfrm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410305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762153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 userDrawn="1"/>
          </p:nvSpPr>
          <p:spPr>
            <a:xfrm>
              <a:off x="-64314" y="1184277"/>
              <a:ext cx="4292803" cy="3586028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136F100-E86B-49A2-A07B-E42C8A9D8A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2699" y="1342755"/>
            <a:ext cx="7954854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558136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7" y="0"/>
            <a:ext cx="83185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7959373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9311221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22" name="Picture 21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611BB89D-49A6-4437-8123-94095576A9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958" y="1213487"/>
            <a:ext cx="4207253" cy="564451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677552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24378A-8706-4C06-80C6-7A67F81AF735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7484754" y="1018729"/>
            <a:ext cx="4292803" cy="3586028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5CD4005D-C33B-4AAA-8E8E-F01C59F912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10" y="1342755"/>
            <a:ext cx="6498611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322735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7">
            <a:extLst>
              <a:ext uri="{FF2B5EF4-FFF2-40B4-BE49-F238E27FC236}">
                <a16:creationId xmlns:a16="http://schemas.microsoft.com/office/drawing/2014/main" id="{6E7D8DD7-DEAC-437B-901B-7C610BC89C36}"/>
              </a:ext>
            </a:extLst>
          </p:cNvPr>
          <p:cNvSpPr/>
          <p:nvPr/>
        </p:nvSpPr>
        <p:spPr>
          <a:xfrm>
            <a:off x="255595" y="3429000"/>
            <a:ext cx="3930815" cy="246026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08A093-20EE-4B55-B26D-4BC893CED2B7}"/>
              </a:ext>
            </a:extLst>
          </p:cNvPr>
          <p:cNvSpPr/>
          <p:nvPr/>
        </p:nvSpPr>
        <p:spPr>
          <a:xfrm>
            <a:off x="21237" y="0"/>
            <a:ext cx="4165173" cy="6858000"/>
          </a:xfrm>
          <a:custGeom>
            <a:avLst/>
            <a:gdLst>
              <a:gd name="connsiteX0" fmla="*/ 0 w 4165173"/>
              <a:gd name="connsiteY0" fmla="*/ 0 h 6858000"/>
              <a:gd name="connsiteX1" fmla="*/ 4165173 w 4165173"/>
              <a:gd name="connsiteY1" fmla="*/ 0 h 6858000"/>
              <a:gd name="connsiteX2" fmla="*/ 4165173 w 4165173"/>
              <a:gd name="connsiteY2" fmla="*/ 3559953 h 6858000"/>
              <a:gd name="connsiteX3" fmla="*/ 4044741 w 4165173"/>
              <a:gd name="connsiteY3" fmla="*/ 3720902 h 6858000"/>
              <a:gd name="connsiteX4" fmla="*/ 1801909 w 4165173"/>
              <a:gd name="connsiteY4" fmla="*/ 4780082 h 6858000"/>
              <a:gd name="connsiteX5" fmla="*/ 773232 w 4165173"/>
              <a:gd name="connsiteY5" fmla="*/ 4593389 h 6858000"/>
              <a:gd name="connsiteX6" fmla="*/ 271656 w 4165173"/>
              <a:gd name="connsiteY6" fmla="*/ 4812924 h 6858000"/>
              <a:gd name="connsiteX7" fmla="*/ 491190 w 4165173"/>
              <a:gd name="connsiteY7" fmla="*/ 5314425 h 6858000"/>
              <a:gd name="connsiteX8" fmla="*/ 499720 w 4165173"/>
              <a:gd name="connsiteY8" fmla="*/ 5317672 h 6858000"/>
              <a:gd name="connsiteX9" fmla="*/ 3928478 w 4165173"/>
              <a:gd name="connsiteY9" fmla="*/ 4881287 h 6858000"/>
              <a:gd name="connsiteX10" fmla="*/ 4165173 w 4165173"/>
              <a:gd name="connsiteY10" fmla="*/ 4696532 h 6858000"/>
              <a:gd name="connsiteX11" fmla="*/ 4165173 w 4165173"/>
              <a:gd name="connsiteY11" fmla="*/ 6858000 h 6858000"/>
              <a:gd name="connsiteX12" fmla="*/ 0 w 4165173"/>
              <a:gd name="connsiteY12" fmla="*/ 6858000 h 6858000"/>
              <a:gd name="connsiteX13" fmla="*/ 0 w 4165173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65173" h="6858000">
                <a:moveTo>
                  <a:pt x="0" y="0"/>
                </a:moveTo>
                <a:lnTo>
                  <a:pt x="4165173" y="0"/>
                </a:lnTo>
                <a:lnTo>
                  <a:pt x="4165173" y="3559953"/>
                </a:lnTo>
                <a:lnTo>
                  <a:pt x="4044741" y="3720902"/>
                </a:lnTo>
                <a:cubicBezTo>
                  <a:pt x="3511001" y="4367370"/>
                  <a:pt x="2703738" y="4780082"/>
                  <a:pt x="1801909" y="4780082"/>
                </a:cubicBezTo>
                <a:cubicBezTo>
                  <a:pt x="1450561" y="4780687"/>
                  <a:pt x="1102005" y="4717424"/>
                  <a:pt x="773232" y="4593389"/>
                </a:cubicBezTo>
                <a:cubicBezTo>
                  <a:pt x="574082" y="4515478"/>
                  <a:pt x="349561" y="4613771"/>
                  <a:pt x="271656" y="4812924"/>
                </a:cubicBezTo>
                <a:cubicBezTo>
                  <a:pt x="193820" y="5012001"/>
                  <a:pt x="292113" y="5236592"/>
                  <a:pt x="491190" y="5314425"/>
                </a:cubicBezTo>
                <a:cubicBezTo>
                  <a:pt x="494058" y="5315559"/>
                  <a:pt x="496851" y="5316616"/>
                  <a:pt x="499720" y="5317672"/>
                </a:cubicBezTo>
                <a:cubicBezTo>
                  <a:pt x="1687752" y="5767661"/>
                  <a:pt x="2963191" y="5562507"/>
                  <a:pt x="3928478" y="4881287"/>
                </a:cubicBezTo>
                <a:lnTo>
                  <a:pt x="4165173" y="4696532"/>
                </a:lnTo>
                <a:lnTo>
                  <a:pt x="416517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4B12FB8-150D-4A2E-B1CF-0BAA2AE1943E}"/>
              </a:ext>
            </a:extLst>
          </p:cNvPr>
          <p:cNvSpPr/>
          <p:nvPr/>
        </p:nvSpPr>
        <p:spPr>
          <a:xfrm>
            <a:off x="4186410" y="1181010"/>
            <a:ext cx="1318627" cy="3515523"/>
          </a:xfrm>
          <a:custGeom>
            <a:avLst/>
            <a:gdLst>
              <a:gd name="connsiteX0" fmla="*/ 544365 w 1318627"/>
              <a:gd name="connsiteY0" fmla="*/ 0 h 3515523"/>
              <a:gd name="connsiteX1" fmla="*/ 1318626 w 1318627"/>
              <a:gd name="connsiteY1" fmla="*/ 0 h 3515523"/>
              <a:gd name="connsiteX2" fmla="*/ 1318626 w 1318627"/>
              <a:gd name="connsiteY2" fmla="*/ 691445 h 3515523"/>
              <a:gd name="connsiteX3" fmla="*/ 1079989 w 1318627"/>
              <a:gd name="connsiteY3" fmla="*/ 1998613 h 3515523"/>
              <a:gd name="connsiteX4" fmla="*/ 43190 w 1318627"/>
              <a:gd name="connsiteY4" fmla="*/ 3481810 h 3515523"/>
              <a:gd name="connsiteX5" fmla="*/ 0 w 1318627"/>
              <a:gd name="connsiteY5" fmla="*/ 3515523 h 3515523"/>
              <a:gd name="connsiteX6" fmla="*/ 0 w 1318627"/>
              <a:gd name="connsiteY6" fmla="*/ 2378944 h 3515523"/>
              <a:gd name="connsiteX7" fmla="*/ 47105 w 1318627"/>
              <a:gd name="connsiteY7" fmla="*/ 2315991 h 3515523"/>
              <a:gd name="connsiteX8" fmla="*/ 544365 w 1318627"/>
              <a:gd name="connsiteY8" fmla="*/ 691445 h 3515523"/>
              <a:gd name="connsiteX9" fmla="*/ 544365 w 1318627"/>
              <a:gd name="connsiteY9" fmla="*/ 0 h 3515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18627" h="3515523">
                <a:moveTo>
                  <a:pt x="544365" y="0"/>
                </a:moveTo>
                <a:lnTo>
                  <a:pt x="1318626" y="0"/>
                </a:lnTo>
                <a:lnTo>
                  <a:pt x="1318626" y="691445"/>
                </a:lnTo>
                <a:cubicBezTo>
                  <a:pt x="1319077" y="1138064"/>
                  <a:pt x="1238150" y="1580982"/>
                  <a:pt x="1079989" y="1998613"/>
                </a:cubicBezTo>
                <a:cubicBezTo>
                  <a:pt x="854996" y="2592628"/>
                  <a:pt x="492831" y="3094489"/>
                  <a:pt x="43190" y="3481810"/>
                </a:cubicBezTo>
                <a:lnTo>
                  <a:pt x="0" y="3515523"/>
                </a:lnTo>
                <a:lnTo>
                  <a:pt x="0" y="2378944"/>
                </a:lnTo>
                <a:lnTo>
                  <a:pt x="47105" y="2315991"/>
                </a:lnTo>
                <a:cubicBezTo>
                  <a:pt x="360937" y="1851855"/>
                  <a:pt x="544365" y="1292665"/>
                  <a:pt x="544365" y="691445"/>
                </a:cubicBezTo>
                <a:lnTo>
                  <a:pt x="54436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856840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2506599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728771" y="251668"/>
            <a:ext cx="604878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95DD5E-1CF3-4292-BC8F-6597C1DBD29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07286E9-F728-4CE1-A685-901C99A0D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61C7286-05FC-4A9D-B37E-B162390B7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2BAA3D65-04F8-4DBA-95BE-5AD5682534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C15826-42D3-42CF-8610-7A9FBF59B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0F5F6F4E-24DB-4A8E-B17C-F38A9A4517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B95D3D2D-5692-4E98-8F79-E8450152BF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03F4BA39-5F54-449F-B8A4-6D7F1619E3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DA0870-50ED-47F4-89E8-471AF8B66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05010" y="1192732"/>
            <a:ext cx="6071008" cy="505566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98490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5017548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7559265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4125180" y="-4"/>
            <a:ext cx="8071239" cy="674237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4FD3A0C-3C40-4134-9813-D677477AA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94865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DCF3B0C-99F0-42EB-9803-C608F896797D}"/>
              </a:ext>
            </a:extLst>
          </p:cNvPr>
          <p:cNvGrpSpPr/>
          <p:nvPr/>
        </p:nvGrpSpPr>
        <p:grpSpPr>
          <a:xfrm>
            <a:off x="4125180" y="-4"/>
            <a:ext cx="8071239" cy="6742373"/>
            <a:chOff x="4125180" y="-4"/>
            <a:chExt cx="8071239" cy="6742373"/>
          </a:xfrm>
          <a:solidFill>
            <a:schemeClr val="tx1">
              <a:alpha val="12000"/>
            </a:schemeClr>
          </a:solidFill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D8928F-4047-4AF1-BC9D-999C7D556F9E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CB2B28F-6F93-45A8-B59A-97A4D85CB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42344DF-A267-45F6-8138-A721AA67F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22877F94-2794-4F27-9373-2BBC8CA6B2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83C1786-0C64-48B6-8261-2EF2BF47C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65448AC1-5361-4BA4-BEF7-57A8CEB432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317743-58EB-4C46-A631-E54EAEEBDA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769F40C2-20AA-41AF-9A00-6B2B579422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1A0B071-9957-43D4-B1FA-7F43CCF2E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5438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1BDEE1E-ADC3-41EF-B96E-A43BA37A6B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650012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7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tx1">
              <a:alpha val="26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tx1">
              <a:alpha val="26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60E01F-24FB-4DED-842E-9084BEDA9F10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302BA09-44B8-4239-A4FB-4018A592FE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7948252-968E-4B3A-8D49-60AA21092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06898A0F-B2B8-400A-9EFF-B9FF81FA46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626CB71D-6452-43DB-BBE5-29057ACB7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2">
              <a:extLst>
                <a:ext uri="{FF2B5EF4-FFF2-40B4-BE49-F238E27FC236}">
                  <a16:creationId xmlns:a16="http://schemas.microsoft.com/office/drawing/2014/main" id="{5C88EC47-B27A-4000-94DD-FEE54174A9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ACDE9CE2-7DB7-496D-B0B0-34B50CE280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874CBA14-CEB1-4B12-A7EF-4556451A93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E8693E4-BF22-401B-9709-5721EE0A64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3312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5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running in the snow&#10;&#10;Description automatically generated with low confidence">
            <a:extLst>
              <a:ext uri="{FF2B5EF4-FFF2-40B4-BE49-F238E27FC236}">
                <a16:creationId xmlns:a16="http://schemas.microsoft.com/office/drawing/2014/main" id="{D9737850-041B-4607-ACF4-3056FCC49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0" y="171265"/>
            <a:ext cx="12197291" cy="6686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>
            <a:off x="11942276" y="3473931"/>
            <a:ext cx="237026" cy="370017"/>
          </a:xfrm>
          <a:custGeom>
            <a:avLst/>
            <a:gdLst>
              <a:gd name="T0" fmla="*/ 0 w 37"/>
              <a:gd name="T1" fmla="*/ 0 h 58"/>
              <a:gd name="T2" fmla="*/ 37 w 37"/>
              <a:gd name="T3" fmla="*/ 58 h 58"/>
              <a:gd name="T4" fmla="*/ 37 w 37"/>
              <a:gd name="T5" fmla="*/ 58 h 58"/>
              <a:gd name="T6" fmla="*/ 0 w 37"/>
              <a:gd name="T7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58">
                <a:moveTo>
                  <a:pt x="0" y="0"/>
                </a:moveTo>
                <a:cubicBezTo>
                  <a:pt x="13" y="19"/>
                  <a:pt x="25" y="3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25" y="38"/>
                  <a:pt x="13" y="19"/>
                  <a:pt x="0" y="0"/>
                </a:cubicBezTo>
              </a:path>
            </a:pathLst>
          </a:custGeom>
          <a:solidFill>
            <a:srgbClr val="0081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91400" y="1746281"/>
            <a:ext cx="5296889" cy="2167497"/>
          </a:xfrm>
        </p:spPr>
        <p:txBody>
          <a:bodyPr anchor="b" anchorCtr="0"/>
          <a:lstStyle>
            <a:lvl1pPr marL="0" indent="0">
              <a:lnSpc>
                <a:spcPct val="80000"/>
              </a:lnSpc>
              <a:defRPr sz="4800" b="0" cap="none" baseline="0">
                <a:solidFill>
                  <a:srgbClr val="0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8" name="Freeform 10"/>
          <p:cNvSpPr>
            <a:spLocks/>
          </p:cNvSpPr>
          <p:nvPr/>
        </p:nvSpPr>
        <p:spPr bwMode="auto">
          <a:xfrm>
            <a:off x="8634501" y="-3172"/>
            <a:ext cx="1434851" cy="5662316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FB2E6ED-C0C9-4697-8717-31D32EB9925B}"/>
              </a:ext>
            </a:extLst>
          </p:cNvPr>
          <p:cNvGrpSpPr/>
          <p:nvPr/>
        </p:nvGrpSpPr>
        <p:grpSpPr>
          <a:xfrm>
            <a:off x="202791" y="1478756"/>
            <a:ext cx="5726179" cy="4989572"/>
            <a:chOff x="202791" y="1478756"/>
            <a:chExt cx="5726179" cy="49895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937200D-FA05-4C16-AC2B-431687517470}"/>
                </a:ext>
              </a:extLst>
            </p:cNvPr>
            <p:cNvSpPr/>
            <p:nvPr/>
          </p:nvSpPr>
          <p:spPr>
            <a:xfrm>
              <a:off x="901022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1 w 977360"/>
                <a:gd name="connsiteY1" fmla="*/ 0 h 977360"/>
                <a:gd name="connsiteX2" fmla="*/ 977361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1" y="0"/>
                  </a:lnTo>
                  <a:lnTo>
                    <a:pt x="977361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1F4D4C-85E7-4869-8161-B6E2E4CF83BC}"/>
                </a:ext>
              </a:extLst>
            </p:cNvPr>
            <p:cNvSpPr/>
            <p:nvPr/>
          </p:nvSpPr>
          <p:spPr>
            <a:xfrm>
              <a:off x="2681997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0 w 977360"/>
                <a:gd name="connsiteY1" fmla="*/ 0 h 977360"/>
                <a:gd name="connsiteX2" fmla="*/ 977360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0" y="0"/>
                  </a:lnTo>
                  <a:lnTo>
                    <a:pt x="977360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2" name="Graphic 7">
              <a:extLst>
                <a:ext uri="{FF2B5EF4-FFF2-40B4-BE49-F238E27FC236}">
                  <a16:creationId xmlns:a16="http://schemas.microsoft.com/office/drawing/2014/main" id="{5CA249B0-7E04-41E3-AED4-68FE985432DD}"/>
                </a:ext>
              </a:extLst>
            </p:cNvPr>
            <p:cNvGrpSpPr/>
            <p:nvPr/>
          </p:nvGrpSpPr>
          <p:grpSpPr>
            <a:xfrm>
              <a:off x="202791" y="1877286"/>
              <a:ext cx="5726179" cy="4591042"/>
              <a:chOff x="202791" y="1877286"/>
              <a:chExt cx="5726179" cy="4591042"/>
            </a:xfrm>
            <a:gradFill>
              <a:gsLst>
                <a:gs pos="0">
                  <a:schemeClr val="accent4"/>
                </a:gs>
                <a:gs pos="96460">
                  <a:schemeClr val="accent5"/>
                </a:gs>
              </a:gsLst>
              <a:lin ang="5400000" scaled="1"/>
            </a:gra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24658E9-1EBA-4806-BDAD-F7C1DB8B2EE7}"/>
                  </a:ext>
                </a:extLst>
              </p:cNvPr>
              <p:cNvSpPr/>
              <p:nvPr/>
            </p:nvSpPr>
            <p:spPr>
              <a:xfrm rot="-3065400">
                <a:off x="4602396" y="4635198"/>
                <a:ext cx="111439" cy="111439"/>
              </a:xfrm>
              <a:custGeom>
                <a:avLst/>
                <a:gdLst>
                  <a:gd name="connsiteX0" fmla="*/ 559 w 111439"/>
                  <a:gd name="connsiteY0" fmla="*/ 362 h 111439"/>
                  <a:gd name="connsiteX1" fmla="*/ 111999 w 111439"/>
                  <a:gd name="connsiteY1" fmla="*/ 362 h 111439"/>
                  <a:gd name="connsiteX2" fmla="*/ 111999 w 111439"/>
                  <a:gd name="connsiteY2" fmla="*/ 111801 h 111439"/>
                  <a:gd name="connsiteX3" fmla="*/ 559 w 111439"/>
                  <a:gd name="connsiteY3" fmla="*/ 111801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559" y="362"/>
                    </a:moveTo>
                    <a:lnTo>
                      <a:pt x="111999" y="362"/>
                    </a:lnTo>
                    <a:lnTo>
                      <a:pt x="111999" y="111801"/>
                    </a:lnTo>
                    <a:lnTo>
                      <a:pt x="559" y="111801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B1026FA8-3E2D-43CC-9030-E03113FE85BC}"/>
                  </a:ext>
                </a:extLst>
              </p:cNvPr>
              <p:cNvSpPr/>
              <p:nvPr/>
            </p:nvSpPr>
            <p:spPr>
              <a:xfrm rot="-4340993">
                <a:off x="5380154" y="3533469"/>
                <a:ext cx="49476" cy="49476"/>
              </a:xfrm>
              <a:custGeom>
                <a:avLst/>
                <a:gdLst>
                  <a:gd name="connsiteX0" fmla="*/ 656 w 49476"/>
                  <a:gd name="connsiteY0" fmla="*/ 216 h 49476"/>
                  <a:gd name="connsiteX1" fmla="*/ 50132 w 49476"/>
                  <a:gd name="connsiteY1" fmla="*/ 216 h 49476"/>
                  <a:gd name="connsiteX2" fmla="*/ 50132 w 49476"/>
                  <a:gd name="connsiteY2" fmla="*/ 49692 h 49476"/>
                  <a:gd name="connsiteX3" fmla="*/ 656 w 49476"/>
                  <a:gd name="connsiteY3" fmla="*/ 49692 h 4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76" h="49476">
                    <a:moveTo>
                      <a:pt x="656" y="216"/>
                    </a:moveTo>
                    <a:lnTo>
                      <a:pt x="50132" y="216"/>
                    </a:lnTo>
                    <a:lnTo>
                      <a:pt x="50132" y="49692"/>
                    </a:lnTo>
                    <a:lnTo>
                      <a:pt x="656" y="49692"/>
                    </a:lnTo>
                    <a:close/>
                  </a:path>
                </a:pathLst>
              </a:custGeom>
              <a:grpFill/>
              <a:ln w="1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23CAD58-EF7F-4960-A004-B14E1B6F12CF}"/>
                  </a:ext>
                </a:extLst>
              </p:cNvPr>
              <p:cNvSpPr/>
              <p:nvPr/>
            </p:nvSpPr>
            <p:spPr>
              <a:xfrm rot="-4324325">
                <a:off x="5157471" y="3512043"/>
                <a:ext cx="76583" cy="76583"/>
              </a:xfrm>
              <a:custGeom>
                <a:avLst/>
                <a:gdLst>
                  <a:gd name="connsiteX0" fmla="*/ 629 w 76583"/>
                  <a:gd name="connsiteY0" fmla="*/ 215 h 76583"/>
                  <a:gd name="connsiteX1" fmla="*/ 77212 w 76583"/>
                  <a:gd name="connsiteY1" fmla="*/ 215 h 76583"/>
                  <a:gd name="connsiteX2" fmla="*/ 77212 w 76583"/>
                  <a:gd name="connsiteY2" fmla="*/ 76798 h 76583"/>
                  <a:gd name="connsiteX3" fmla="*/ 629 w 76583"/>
                  <a:gd name="connsiteY3" fmla="*/ 76798 h 7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583" h="76583">
                    <a:moveTo>
                      <a:pt x="629" y="215"/>
                    </a:moveTo>
                    <a:lnTo>
                      <a:pt x="77212" y="215"/>
                    </a:lnTo>
                    <a:lnTo>
                      <a:pt x="77212" y="76798"/>
                    </a:lnTo>
                    <a:lnTo>
                      <a:pt x="629" y="76798"/>
                    </a:lnTo>
                    <a:close/>
                  </a:path>
                </a:pathLst>
              </a:custGeom>
              <a:grpFill/>
              <a:ln w="27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AC033E2-F11C-47F2-B367-55648CA057F6}"/>
                  </a:ext>
                </a:extLst>
              </p:cNvPr>
              <p:cNvSpPr/>
              <p:nvPr/>
            </p:nvSpPr>
            <p:spPr>
              <a:xfrm rot="-5400000">
                <a:off x="5742523" y="2019077"/>
                <a:ext cx="186447" cy="186447"/>
              </a:xfrm>
              <a:custGeom>
                <a:avLst/>
                <a:gdLst>
                  <a:gd name="connsiteX0" fmla="*/ 711 w 186447"/>
                  <a:gd name="connsiteY0" fmla="*/ 30 h 186447"/>
                  <a:gd name="connsiteX1" fmla="*/ 187159 w 186447"/>
                  <a:gd name="connsiteY1" fmla="*/ 30 h 186447"/>
                  <a:gd name="connsiteX2" fmla="*/ 187159 w 186447"/>
                  <a:gd name="connsiteY2" fmla="*/ 186477 h 186447"/>
                  <a:gd name="connsiteX3" fmla="*/ 711 w 186447"/>
                  <a:gd name="connsiteY3" fmla="*/ 186477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711" y="30"/>
                    </a:moveTo>
                    <a:lnTo>
                      <a:pt x="187159" y="30"/>
                    </a:lnTo>
                    <a:lnTo>
                      <a:pt x="187159" y="186477"/>
                    </a:lnTo>
                    <a:lnTo>
                      <a:pt x="711" y="186477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5696994-8666-408D-B1E8-7B8D4EFBAE5B}"/>
                  </a:ext>
                </a:extLst>
              </p:cNvPr>
              <p:cNvSpPr/>
              <p:nvPr/>
            </p:nvSpPr>
            <p:spPr>
              <a:xfrm rot="-2229602">
                <a:off x="4086310" y="5338797"/>
                <a:ext cx="79293" cy="79293"/>
              </a:xfrm>
              <a:custGeom>
                <a:avLst/>
                <a:gdLst>
                  <a:gd name="connsiteX0" fmla="*/ 491 w 79293"/>
                  <a:gd name="connsiteY0" fmla="*/ 450 h 79293"/>
                  <a:gd name="connsiteX1" fmla="*/ 79785 w 79293"/>
                  <a:gd name="connsiteY1" fmla="*/ 450 h 79293"/>
                  <a:gd name="connsiteX2" fmla="*/ 79785 w 79293"/>
                  <a:gd name="connsiteY2" fmla="*/ 79744 h 79293"/>
                  <a:gd name="connsiteX3" fmla="*/ 491 w 79293"/>
                  <a:gd name="connsiteY3" fmla="*/ 79744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491" y="450"/>
                    </a:moveTo>
                    <a:lnTo>
                      <a:pt x="79785" y="450"/>
                    </a:lnTo>
                    <a:lnTo>
                      <a:pt x="79785" y="79744"/>
                    </a:lnTo>
                    <a:lnTo>
                      <a:pt x="491" y="79744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531D4AA-F954-40F3-B573-F3A619E0E5D8}"/>
                  </a:ext>
                </a:extLst>
              </p:cNvPr>
              <p:cNvSpPr/>
              <p:nvPr/>
            </p:nvSpPr>
            <p:spPr>
              <a:xfrm rot="-1815386">
                <a:off x="3618086" y="5291207"/>
                <a:ext cx="59545" cy="59545"/>
              </a:xfrm>
              <a:custGeom>
                <a:avLst/>
                <a:gdLst>
                  <a:gd name="connsiteX0" fmla="*/ 429 w 59545"/>
                  <a:gd name="connsiteY0" fmla="*/ 443 h 59545"/>
                  <a:gd name="connsiteX1" fmla="*/ 59975 w 59545"/>
                  <a:gd name="connsiteY1" fmla="*/ 443 h 59545"/>
                  <a:gd name="connsiteX2" fmla="*/ 59975 w 59545"/>
                  <a:gd name="connsiteY2" fmla="*/ 59988 h 59545"/>
                  <a:gd name="connsiteX3" fmla="*/ 429 w 59545"/>
                  <a:gd name="connsiteY3" fmla="*/ 5998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545" h="59545">
                    <a:moveTo>
                      <a:pt x="429" y="443"/>
                    </a:moveTo>
                    <a:lnTo>
                      <a:pt x="59975" y="443"/>
                    </a:lnTo>
                    <a:lnTo>
                      <a:pt x="59975" y="59988"/>
                    </a:lnTo>
                    <a:lnTo>
                      <a:pt x="429" y="59988"/>
                    </a:lnTo>
                    <a:close/>
                  </a:path>
                </a:pathLst>
              </a:custGeom>
              <a:grpFill/>
              <a:ln w="2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8545358-5F30-4494-8B0C-4BDB3592D55E}"/>
                  </a:ext>
                </a:extLst>
              </p:cNvPr>
              <p:cNvSpPr/>
              <p:nvPr/>
            </p:nvSpPr>
            <p:spPr>
              <a:xfrm rot="1246335">
                <a:off x="549919" y="5447852"/>
                <a:ext cx="199409" cy="199409"/>
              </a:xfrm>
              <a:custGeom>
                <a:avLst/>
                <a:gdLst>
                  <a:gd name="connsiteX0" fmla="*/ 44 w 199409"/>
                  <a:gd name="connsiteY0" fmla="*/ 472 h 199409"/>
                  <a:gd name="connsiteX1" fmla="*/ 199453 w 199409"/>
                  <a:gd name="connsiteY1" fmla="*/ 472 h 199409"/>
                  <a:gd name="connsiteX2" fmla="*/ 199453 w 199409"/>
                  <a:gd name="connsiteY2" fmla="*/ 199881 h 199409"/>
                  <a:gd name="connsiteX3" fmla="*/ 44 w 199409"/>
                  <a:gd name="connsiteY3" fmla="*/ 199881 h 19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409" h="199409">
                    <a:moveTo>
                      <a:pt x="44" y="472"/>
                    </a:moveTo>
                    <a:lnTo>
                      <a:pt x="199453" y="472"/>
                    </a:lnTo>
                    <a:lnTo>
                      <a:pt x="199453" y="199881"/>
                    </a:lnTo>
                    <a:lnTo>
                      <a:pt x="44" y="199881"/>
                    </a:lnTo>
                    <a:close/>
                  </a:path>
                </a:pathLst>
              </a:custGeom>
              <a:grpFill/>
              <a:ln w="72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0231B58-9BC8-44A2-AD3C-441AEBD368B8}"/>
                  </a:ext>
                </a:extLst>
              </p:cNvPr>
              <p:cNvSpPr/>
              <p:nvPr/>
            </p:nvSpPr>
            <p:spPr>
              <a:xfrm rot="1003202">
                <a:off x="758686" y="6186919"/>
                <a:ext cx="139299" cy="139299"/>
              </a:xfrm>
              <a:custGeom>
                <a:avLst/>
                <a:gdLst>
                  <a:gd name="connsiteX0" fmla="*/ 67 w 139299"/>
                  <a:gd name="connsiteY0" fmla="*/ 563 h 139299"/>
                  <a:gd name="connsiteX1" fmla="*/ 139366 w 139299"/>
                  <a:gd name="connsiteY1" fmla="*/ 563 h 139299"/>
                  <a:gd name="connsiteX2" fmla="*/ 139366 w 139299"/>
                  <a:gd name="connsiteY2" fmla="*/ 139863 h 139299"/>
                  <a:gd name="connsiteX3" fmla="*/ 67 w 139299"/>
                  <a:gd name="connsiteY3" fmla="*/ 139863 h 13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299" h="139299">
                    <a:moveTo>
                      <a:pt x="67" y="563"/>
                    </a:moveTo>
                    <a:lnTo>
                      <a:pt x="139366" y="563"/>
                    </a:lnTo>
                    <a:lnTo>
                      <a:pt x="139366" y="139863"/>
                    </a:lnTo>
                    <a:lnTo>
                      <a:pt x="67" y="139863"/>
                    </a:lnTo>
                    <a:close/>
                  </a:path>
                </a:pathLst>
              </a:custGeom>
              <a:grpFill/>
              <a:ln w="50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DEEA082-84CA-4C7F-A8A2-3BA7C1D4AAC2}"/>
                  </a:ext>
                </a:extLst>
              </p:cNvPr>
              <p:cNvSpPr/>
              <p:nvPr/>
            </p:nvSpPr>
            <p:spPr>
              <a:xfrm rot="-1851002">
                <a:off x="3779089" y="5626920"/>
                <a:ext cx="175732" cy="175732"/>
              </a:xfrm>
              <a:custGeom>
                <a:avLst/>
                <a:gdLst>
                  <a:gd name="connsiteX0" fmla="*/ 458 w 175732"/>
                  <a:gd name="connsiteY0" fmla="*/ 493 h 175732"/>
                  <a:gd name="connsiteX1" fmla="*/ 176190 w 175732"/>
                  <a:gd name="connsiteY1" fmla="*/ 493 h 175732"/>
                  <a:gd name="connsiteX2" fmla="*/ 176190 w 175732"/>
                  <a:gd name="connsiteY2" fmla="*/ 176225 h 175732"/>
                  <a:gd name="connsiteX3" fmla="*/ 458 w 175732"/>
                  <a:gd name="connsiteY3" fmla="*/ 176225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458" y="493"/>
                    </a:moveTo>
                    <a:lnTo>
                      <a:pt x="176190" y="493"/>
                    </a:lnTo>
                    <a:lnTo>
                      <a:pt x="176190" y="176225"/>
                    </a:lnTo>
                    <a:lnTo>
                      <a:pt x="458" y="176225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D4736FA9-8801-4161-A9F5-A0AB79451DC2}"/>
                  </a:ext>
                </a:extLst>
              </p:cNvPr>
              <p:cNvSpPr/>
              <p:nvPr/>
            </p:nvSpPr>
            <p:spPr>
              <a:xfrm rot="1038000">
                <a:off x="898344" y="5446844"/>
                <a:ext cx="214307" cy="214307"/>
              </a:xfrm>
              <a:custGeom>
                <a:avLst/>
                <a:gdLst>
                  <a:gd name="connsiteX0" fmla="*/ 89 w 214307"/>
                  <a:gd name="connsiteY0" fmla="*/ 473 h 214307"/>
                  <a:gd name="connsiteX1" fmla="*/ 214397 w 214307"/>
                  <a:gd name="connsiteY1" fmla="*/ 473 h 214307"/>
                  <a:gd name="connsiteX2" fmla="*/ 214397 w 214307"/>
                  <a:gd name="connsiteY2" fmla="*/ 214780 h 214307"/>
                  <a:gd name="connsiteX3" fmla="*/ 89 w 214307"/>
                  <a:gd name="connsiteY3" fmla="*/ 214780 h 21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4307" h="214307">
                    <a:moveTo>
                      <a:pt x="89" y="473"/>
                    </a:moveTo>
                    <a:lnTo>
                      <a:pt x="214397" y="473"/>
                    </a:lnTo>
                    <a:lnTo>
                      <a:pt x="214397" y="214780"/>
                    </a:lnTo>
                    <a:lnTo>
                      <a:pt x="89" y="21478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828E2BB-6D22-48AF-B86F-07BE6115DED3}"/>
                  </a:ext>
                </a:extLst>
              </p:cNvPr>
              <p:cNvSpPr/>
              <p:nvPr/>
            </p:nvSpPr>
            <p:spPr>
              <a:xfrm rot="-2736600">
                <a:off x="4191513" y="4697736"/>
                <a:ext cx="137156" cy="137156"/>
              </a:xfrm>
              <a:custGeom>
                <a:avLst/>
                <a:gdLst>
                  <a:gd name="connsiteX0" fmla="*/ 508 w 137156"/>
                  <a:gd name="connsiteY0" fmla="*/ 371 h 137156"/>
                  <a:gd name="connsiteX1" fmla="*/ 137665 w 137156"/>
                  <a:gd name="connsiteY1" fmla="*/ 371 h 137156"/>
                  <a:gd name="connsiteX2" fmla="*/ 137665 w 137156"/>
                  <a:gd name="connsiteY2" fmla="*/ 137528 h 137156"/>
                  <a:gd name="connsiteX3" fmla="*/ 508 w 137156"/>
                  <a:gd name="connsiteY3" fmla="*/ 137528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508" y="371"/>
                    </a:moveTo>
                    <a:lnTo>
                      <a:pt x="137665" y="371"/>
                    </a:lnTo>
                    <a:lnTo>
                      <a:pt x="137665" y="137528"/>
                    </a:lnTo>
                    <a:lnTo>
                      <a:pt x="508" y="137528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056821C-1F29-443B-B919-78AC7A2C5141}"/>
                  </a:ext>
                </a:extLst>
              </p:cNvPr>
              <p:cNvSpPr/>
              <p:nvPr/>
            </p:nvSpPr>
            <p:spPr>
              <a:xfrm rot="-2924399">
                <a:off x="4321447" y="4574289"/>
                <a:ext cx="190733" cy="190733"/>
              </a:xfrm>
              <a:custGeom>
                <a:avLst/>
                <a:gdLst>
                  <a:gd name="connsiteX0" fmla="*/ 528 w 190733"/>
                  <a:gd name="connsiteY0" fmla="*/ 359 h 190733"/>
                  <a:gd name="connsiteX1" fmla="*/ 191262 w 190733"/>
                  <a:gd name="connsiteY1" fmla="*/ 359 h 190733"/>
                  <a:gd name="connsiteX2" fmla="*/ 191262 w 190733"/>
                  <a:gd name="connsiteY2" fmla="*/ 191093 h 190733"/>
                  <a:gd name="connsiteX3" fmla="*/ 528 w 190733"/>
                  <a:gd name="connsiteY3" fmla="*/ 191093 h 19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733" h="190733">
                    <a:moveTo>
                      <a:pt x="528" y="359"/>
                    </a:moveTo>
                    <a:lnTo>
                      <a:pt x="191262" y="359"/>
                    </a:lnTo>
                    <a:lnTo>
                      <a:pt x="191262" y="191093"/>
                    </a:lnTo>
                    <a:lnTo>
                      <a:pt x="528" y="191093"/>
                    </a:lnTo>
                    <a:close/>
                  </a:path>
                </a:pathLst>
              </a:custGeom>
              <a:grpFill/>
              <a:ln w="69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098119F-6548-4790-ACDD-C536A5F07722}"/>
                  </a:ext>
                </a:extLst>
              </p:cNvPr>
              <p:cNvSpPr/>
              <p:nvPr/>
            </p:nvSpPr>
            <p:spPr>
              <a:xfrm rot="878513">
                <a:off x="871861" y="5985941"/>
                <a:ext cx="245865" cy="245865"/>
              </a:xfrm>
              <a:custGeom>
                <a:avLst/>
                <a:gdLst>
                  <a:gd name="connsiteX0" fmla="*/ 88 w 245865"/>
                  <a:gd name="connsiteY0" fmla="*/ 544 h 245865"/>
                  <a:gd name="connsiteX1" fmla="*/ 245954 w 245865"/>
                  <a:gd name="connsiteY1" fmla="*/ 544 h 245865"/>
                  <a:gd name="connsiteX2" fmla="*/ 245954 w 245865"/>
                  <a:gd name="connsiteY2" fmla="*/ 246410 h 245865"/>
                  <a:gd name="connsiteX3" fmla="*/ 88 w 245865"/>
                  <a:gd name="connsiteY3" fmla="*/ 246410 h 24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865" h="245865">
                    <a:moveTo>
                      <a:pt x="88" y="544"/>
                    </a:moveTo>
                    <a:lnTo>
                      <a:pt x="245954" y="544"/>
                    </a:lnTo>
                    <a:lnTo>
                      <a:pt x="245954" y="246410"/>
                    </a:lnTo>
                    <a:lnTo>
                      <a:pt x="88" y="246410"/>
                    </a:lnTo>
                    <a:close/>
                  </a:path>
                </a:pathLst>
              </a:custGeom>
              <a:grpFill/>
              <a:ln w="89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6A7B3EC-05F8-461D-8518-33C7AF5797BB}"/>
                  </a:ext>
                </a:extLst>
              </p:cNvPr>
              <p:cNvSpPr/>
              <p:nvPr/>
            </p:nvSpPr>
            <p:spPr>
              <a:xfrm rot="-1651796">
                <a:off x="3471066" y="5454493"/>
                <a:ext cx="70721" cy="70721"/>
              </a:xfrm>
              <a:custGeom>
                <a:avLst/>
                <a:gdLst>
                  <a:gd name="connsiteX0" fmla="*/ 411 w 70721"/>
                  <a:gd name="connsiteY0" fmla="*/ 464 h 70721"/>
                  <a:gd name="connsiteX1" fmla="*/ 71133 w 70721"/>
                  <a:gd name="connsiteY1" fmla="*/ 464 h 70721"/>
                  <a:gd name="connsiteX2" fmla="*/ 71133 w 70721"/>
                  <a:gd name="connsiteY2" fmla="*/ 71186 h 70721"/>
                  <a:gd name="connsiteX3" fmla="*/ 411 w 70721"/>
                  <a:gd name="connsiteY3" fmla="*/ 71186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1" y="464"/>
                    </a:moveTo>
                    <a:lnTo>
                      <a:pt x="71133" y="464"/>
                    </a:lnTo>
                    <a:lnTo>
                      <a:pt x="71133" y="71186"/>
                    </a:lnTo>
                    <a:lnTo>
                      <a:pt x="411" y="71186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8286953-28E4-4A79-9CCA-9C9A9DCBDDCE}"/>
                  </a:ext>
                </a:extLst>
              </p:cNvPr>
              <p:cNvSpPr/>
              <p:nvPr/>
            </p:nvSpPr>
            <p:spPr>
              <a:xfrm rot="-5400000">
                <a:off x="5179014" y="1911635"/>
                <a:ext cx="45004" cy="45004"/>
              </a:xfrm>
              <a:custGeom>
                <a:avLst/>
                <a:gdLst>
                  <a:gd name="connsiteX0" fmla="*/ 629 w 45004"/>
                  <a:gd name="connsiteY0" fmla="*/ 7 h 45004"/>
                  <a:gd name="connsiteX1" fmla="*/ 45634 w 45004"/>
                  <a:gd name="connsiteY1" fmla="*/ 7 h 45004"/>
                  <a:gd name="connsiteX2" fmla="*/ 45634 w 45004"/>
                  <a:gd name="connsiteY2" fmla="*/ 45011 h 45004"/>
                  <a:gd name="connsiteX3" fmla="*/ 629 w 45004"/>
                  <a:gd name="connsiteY3" fmla="*/ 4501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7"/>
                    </a:moveTo>
                    <a:lnTo>
                      <a:pt x="45634" y="7"/>
                    </a:lnTo>
                    <a:lnTo>
                      <a:pt x="45634" y="45011"/>
                    </a:lnTo>
                    <a:lnTo>
                      <a:pt x="629" y="4501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038ED0F-E954-443B-99F8-824FE8B285FB}"/>
                  </a:ext>
                </a:extLst>
              </p:cNvPr>
              <p:cNvSpPr/>
              <p:nvPr/>
            </p:nvSpPr>
            <p:spPr>
              <a:xfrm rot="-2566197">
                <a:off x="4570734" y="5341203"/>
                <a:ext cx="57862" cy="57862"/>
              </a:xfrm>
              <a:custGeom>
                <a:avLst/>
                <a:gdLst>
                  <a:gd name="connsiteX0" fmla="*/ 552 w 57862"/>
                  <a:gd name="connsiteY0" fmla="*/ 449 h 57862"/>
                  <a:gd name="connsiteX1" fmla="*/ 58415 w 57862"/>
                  <a:gd name="connsiteY1" fmla="*/ 449 h 57862"/>
                  <a:gd name="connsiteX2" fmla="*/ 58415 w 57862"/>
                  <a:gd name="connsiteY2" fmla="*/ 58312 h 57862"/>
                  <a:gd name="connsiteX3" fmla="*/ 552 w 57862"/>
                  <a:gd name="connsiteY3" fmla="*/ 58312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552" y="449"/>
                    </a:moveTo>
                    <a:lnTo>
                      <a:pt x="58415" y="449"/>
                    </a:lnTo>
                    <a:lnTo>
                      <a:pt x="58415" y="58312"/>
                    </a:lnTo>
                    <a:lnTo>
                      <a:pt x="552" y="58312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F18C6E2-44DD-41B0-87B2-01676422EA85}"/>
                  </a:ext>
                </a:extLst>
              </p:cNvPr>
              <p:cNvSpPr/>
              <p:nvPr/>
            </p:nvSpPr>
            <p:spPr>
              <a:xfrm rot="1241402">
                <a:off x="410153" y="5546873"/>
                <a:ext cx="124298" cy="124298"/>
              </a:xfrm>
              <a:custGeom>
                <a:avLst/>
                <a:gdLst>
                  <a:gd name="connsiteX0" fmla="*/ 21 w 124298"/>
                  <a:gd name="connsiteY0" fmla="*/ 480 h 124298"/>
                  <a:gd name="connsiteX1" fmla="*/ 124319 w 124298"/>
                  <a:gd name="connsiteY1" fmla="*/ 480 h 124298"/>
                  <a:gd name="connsiteX2" fmla="*/ 124319 w 124298"/>
                  <a:gd name="connsiteY2" fmla="*/ 124778 h 124298"/>
                  <a:gd name="connsiteX3" fmla="*/ 21 w 124298"/>
                  <a:gd name="connsiteY3" fmla="*/ 12477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21" y="480"/>
                    </a:moveTo>
                    <a:lnTo>
                      <a:pt x="124319" y="480"/>
                    </a:lnTo>
                    <a:lnTo>
                      <a:pt x="124319" y="124778"/>
                    </a:lnTo>
                    <a:lnTo>
                      <a:pt x="21" y="12477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DA5A7C3-DC8F-49D8-9A02-1D539B47A446}"/>
                  </a:ext>
                </a:extLst>
              </p:cNvPr>
              <p:cNvSpPr/>
              <p:nvPr/>
            </p:nvSpPr>
            <p:spPr>
              <a:xfrm rot="-2622000">
                <a:off x="4234936" y="4898164"/>
                <a:ext cx="70721" cy="70721"/>
              </a:xfrm>
              <a:custGeom>
                <a:avLst/>
                <a:gdLst>
                  <a:gd name="connsiteX0" fmla="*/ 510 w 70721"/>
                  <a:gd name="connsiteY0" fmla="*/ 393 h 70721"/>
                  <a:gd name="connsiteX1" fmla="*/ 71231 w 70721"/>
                  <a:gd name="connsiteY1" fmla="*/ 393 h 70721"/>
                  <a:gd name="connsiteX2" fmla="*/ 71231 w 70721"/>
                  <a:gd name="connsiteY2" fmla="*/ 71114 h 70721"/>
                  <a:gd name="connsiteX3" fmla="*/ 510 w 70721"/>
                  <a:gd name="connsiteY3" fmla="*/ 71114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510" y="393"/>
                    </a:moveTo>
                    <a:lnTo>
                      <a:pt x="71231" y="393"/>
                    </a:lnTo>
                    <a:lnTo>
                      <a:pt x="71231" y="71114"/>
                    </a:lnTo>
                    <a:lnTo>
                      <a:pt x="510" y="71114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596E1706-0796-4834-A505-DED97DCBA227}"/>
                  </a:ext>
                </a:extLst>
              </p:cNvPr>
              <p:cNvSpPr/>
              <p:nvPr/>
            </p:nvSpPr>
            <p:spPr>
              <a:xfrm rot="633000">
                <a:off x="1212119" y="6152109"/>
                <a:ext cx="102867" cy="102867"/>
              </a:xfrm>
              <a:custGeom>
                <a:avLst/>
                <a:gdLst>
                  <a:gd name="connsiteX0" fmla="*/ 123 w 102867"/>
                  <a:gd name="connsiteY0" fmla="*/ 556 h 102867"/>
                  <a:gd name="connsiteX1" fmla="*/ 102990 w 102867"/>
                  <a:gd name="connsiteY1" fmla="*/ 556 h 102867"/>
                  <a:gd name="connsiteX2" fmla="*/ 102990 w 102867"/>
                  <a:gd name="connsiteY2" fmla="*/ 103424 h 102867"/>
                  <a:gd name="connsiteX3" fmla="*/ 123 w 102867"/>
                  <a:gd name="connsiteY3" fmla="*/ 103424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23" y="556"/>
                    </a:moveTo>
                    <a:lnTo>
                      <a:pt x="102990" y="556"/>
                    </a:lnTo>
                    <a:lnTo>
                      <a:pt x="102990" y="103424"/>
                    </a:lnTo>
                    <a:lnTo>
                      <a:pt x="123" y="103424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4CCEB459-A847-4DBE-B395-FCA52B60908D}"/>
                  </a:ext>
                </a:extLst>
              </p:cNvPr>
              <p:cNvSpPr/>
              <p:nvPr/>
            </p:nvSpPr>
            <p:spPr>
              <a:xfrm rot="1257943">
                <a:off x="238596" y="5713841"/>
                <a:ext cx="245566" cy="245566"/>
              </a:xfrm>
              <a:custGeom>
                <a:avLst/>
                <a:gdLst>
                  <a:gd name="connsiteX0" fmla="*/ 6 w 245566"/>
                  <a:gd name="connsiteY0" fmla="*/ 509 h 245566"/>
                  <a:gd name="connsiteX1" fmla="*/ 245573 w 245566"/>
                  <a:gd name="connsiteY1" fmla="*/ 509 h 245566"/>
                  <a:gd name="connsiteX2" fmla="*/ 245573 w 245566"/>
                  <a:gd name="connsiteY2" fmla="*/ 246076 h 245566"/>
                  <a:gd name="connsiteX3" fmla="*/ 6 w 245566"/>
                  <a:gd name="connsiteY3" fmla="*/ 246076 h 2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566" h="245566">
                    <a:moveTo>
                      <a:pt x="6" y="509"/>
                    </a:moveTo>
                    <a:lnTo>
                      <a:pt x="245573" y="509"/>
                    </a:lnTo>
                    <a:lnTo>
                      <a:pt x="245573" y="246076"/>
                    </a:lnTo>
                    <a:lnTo>
                      <a:pt x="6" y="246076"/>
                    </a:lnTo>
                    <a:close/>
                  </a:path>
                </a:pathLst>
              </a:custGeom>
              <a:grpFill/>
              <a:ln w="89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7B08FD70-F386-4B96-B9C0-279F38FB3F68}"/>
                  </a:ext>
                </a:extLst>
              </p:cNvPr>
              <p:cNvSpPr/>
              <p:nvPr/>
            </p:nvSpPr>
            <p:spPr>
              <a:xfrm rot="-4652505">
                <a:off x="5462277" y="3207170"/>
                <a:ext cx="188748" cy="188748"/>
              </a:xfrm>
              <a:custGeom>
                <a:avLst/>
                <a:gdLst>
                  <a:gd name="connsiteX0" fmla="*/ 675 w 188748"/>
                  <a:gd name="connsiteY0" fmla="*/ 183 h 188748"/>
                  <a:gd name="connsiteX1" fmla="*/ 189424 w 188748"/>
                  <a:gd name="connsiteY1" fmla="*/ 183 h 188748"/>
                  <a:gd name="connsiteX2" fmla="*/ 189424 w 188748"/>
                  <a:gd name="connsiteY2" fmla="*/ 188932 h 188748"/>
                  <a:gd name="connsiteX3" fmla="*/ 675 w 188748"/>
                  <a:gd name="connsiteY3" fmla="*/ 188932 h 18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748" h="188748">
                    <a:moveTo>
                      <a:pt x="675" y="183"/>
                    </a:moveTo>
                    <a:lnTo>
                      <a:pt x="189424" y="183"/>
                    </a:lnTo>
                    <a:lnTo>
                      <a:pt x="189424" y="188932"/>
                    </a:lnTo>
                    <a:lnTo>
                      <a:pt x="675" y="188932"/>
                    </a:lnTo>
                    <a:close/>
                  </a:path>
                </a:pathLst>
              </a:custGeom>
              <a:grpFill/>
              <a:ln w="6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BEF3912-84E7-4041-A789-69DFEF521C49}"/>
                  </a:ext>
                </a:extLst>
              </p:cNvPr>
              <p:cNvSpPr/>
              <p:nvPr/>
            </p:nvSpPr>
            <p:spPr>
              <a:xfrm rot="385800">
                <a:off x="1428136" y="6276589"/>
                <a:ext cx="177875" cy="177875"/>
              </a:xfrm>
              <a:custGeom>
                <a:avLst/>
                <a:gdLst>
                  <a:gd name="connsiteX0" fmla="*/ 155 w 177875"/>
                  <a:gd name="connsiteY0" fmla="*/ 577 h 177875"/>
                  <a:gd name="connsiteX1" fmla="*/ 178031 w 177875"/>
                  <a:gd name="connsiteY1" fmla="*/ 577 h 177875"/>
                  <a:gd name="connsiteX2" fmla="*/ 178031 w 177875"/>
                  <a:gd name="connsiteY2" fmla="*/ 178452 h 177875"/>
                  <a:gd name="connsiteX3" fmla="*/ 155 w 177875"/>
                  <a:gd name="connsiteY3" fmla="*/ 178452 h 177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75" h="177875">
                    <a:moveTo>
                      <a:pt x="155" y="577"/>
                    </a:moveTo>
                    <a:lnTo>
                      <a:pt x="178031" y="577"/>
                    </a:lnTo>
                    <a:lnTo>
                      <a:pt x="178031" y="178452"/>
                    </a:lnTo>
                    <a:lnTo>
                      <a:pt x="155" y="178452"/>
                    </a:lnTo>
                    <a:close/>
                  </a:path>
                </a:pathLst>
              </a:custGeom>
              <a:grpFill/>
              <a:ln w="6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E07A116A-21E6-4076-B742-8C584918B14B}"/>
                  </a:ext>
                </a:extLst>
              </p:cNvPr>
              <p:cNvSpPr/>
              <p:nvPr/>
            </p:nvSpPr>
            <p:spPr>
              <a:xfrm rot="-1688397">
                <a:off x="3536424" y="5521426"/>
                <a:ext cx="120012" cy="120012"/>
              </a:xfrm>
              <a:custGeom>
                <a:avLst/>
                <a:gdLst>
                  <a:gd name="connsiteX0" fmla="*/ 423 w 120012"/>
                  <a:gd name="connsiteY0" fmla="*/ 476 h 120012"/>
                  <a:gd name="connsiteX1" fmla="*/ 120435 w 120012"/>
                  <a:gd name="connsiteY1" fmla="*/ 476 h 120012"/>
                  <a:gd name="connsiteX2" fmla="*/ 120435 w 120012"/>
                  <a:gd name="connsiteY2" fmla="*/ 120488 h 120012"/>
                  <a:gd name="connsiteX3" fmla="*/ 423 w 120012"/>
                  <a:gd name="connsiteY3" fmla="*/ 120488 h 12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012" h="120012">
                    <a:moveTo>
                      <a:pt x="423" y="476"/>
                    </a:moveTo>
                    <a:lnTo>
                      <a:pt x="120435" y="476"/>
                    </a:lnTo>
                    <a:lnTo>
                      <a:pt x="120435" y="120488"/>
                    </a:lnTo>
                    <a:lnTo>
                      <a:pt x="423" y="120488"/>
                    </a:lnTo>
                    <a:close/>
                  </a:path>
                </a:pathLst>
              </a:custGeom>
              <a:grpFill/>
              <a:ln w="4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4ACC772-8FEC-4500-9B96-E3FB13F0C2BF}"/>
                  </a:ext>
                </a:extLst>
              </p:cNvPr>
              <p:cNvSpPr/>
              <p:nvPr/>
            </p:nvSpPr>
            <p:spPr>
              <a:xfrm rot="1118999">
                <a:off x="729440" y="6008610"/>
                <a:ext cx="66435" cy="66435"/>
              </a:xfrm>
              <a:custGeom>
                <a:avLst/>
                <a:gdLst>
                  <a:gd name="connsiteX0" fmla="*/ 58 w 66435"/>
                  <a:gd name="connsiteY0" fmla="*/ 535 h 66435"/>
                  <a:gd name="connsiteX1" fmla="*/ 66494 w 66435"/>
                  <a:gd name="connsiteY1" fmla="*/ 535 h 66435"/>
                  <a:gd name="connsiteX2" fmla="*/ 66494 w 66435"/>
                  <a:gd name="connsiteY2" fmla="*/ 66971 h 66435"/>
                  <a:gd name="connsiteX3" fmla="*/ 58 w 66435"/>
                  <a:gd name="connsiteY3" fmla="*/ 66971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58" y="535"/>
                    </a:moveTo>
                    <a:lnTo>
                      <a:pt x="66494" y="535"/>
                    </a:lnTo>
                    <a:lnTo>
                      <a:pt x="66494" y="66971"/>
                    </a:lnTo>
                    <a:lnTo>
                      <a:pt x="58" y="66971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FD03635-390D-4428-BFA1-F98045932E68}"/>
                  </a:ext>
                </a:extLst>
              </p:cNvPr>
              <p:cNvSpPr/>
              <p:nvPr/>
            </p:nvSpPr>
            <p:spPr>
              <a:xfrm rot="-5400000">
                <a:off x="5728925" y="2287103"/>
                <a:ext cx="70721" cy="70721"/>
              </a:xfrm>
              <a:custGeom>
                <a:avLst/>
                <a:gdLst>
                  <a:gd name="connsiteX0" fmla="*/ 702 w 70721"/>
                  <a:gd name="connsiteY0" fmla="*/ 57 h 70721"/>
                  <a:gd name="connsiteX1" fmla="*/ 71423 w 70721"/>
                  <a:gd name="connsiteY1" fmla="*/ 57 h 70721"/>
                  <a:gd name="connsiteX2" fmla="*/ 71423 w 70721"/>
                  <a:gd name="connsiteY2" fmla="*/ 70778 h 70721"/>
                  <a:gd name="connsiteX3" fmla="*/ 702 w 70721"/>
                  <a:gd name="connsiteY3" fmla="*/ 70778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702" y="57"/>
                    </a:moveTo>
                    <a:lnTo>
                      <a:pt x="71423" y="57"/>
                    </a:lnTo>
                    <a:lnTo>
                      <a:pt x="71423" y="70778"/>
                    </a:lnTo>
                    <a:lnTo>
                      <a:pt x="702" y="70778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C46B0EBA-68C7-4831-9D95-97826B5015E7}"/>
                  </a:ext>
                </a:extLst>
              </p:cNvPr>
              <p:cNvSpPr/>
              <p:nvPr/>
            </p:nvSpPr>
            <p:spPr>
              <a:xfrm rot="-1510800">
                <a:off x="3486884" y="5809756"/>
                <a:ext cx="70721" cy="70721"/>
              </a:xfrm>
              <a:custGeom>
                <a:avLst/>
                <a:gdLst>
                  <a:gd name="connsiteX0" fmla="*/ 413 w 70721"/>
                  <a:gd name="connsiteY0" fmla="*/ 510 h 70721"/>
                  <a:gd name="connsiteX1" fmla="*/ 71135 w 70721"/>
                  <a:gd name="connsiteY1" fmla="*/ 510 h 70721"/>
                  <a:gd name="connsiteX2" fmla="*/ 71135 w 70721"/>
                  <a:gd name="connsiteY2" fmla="*/ 71232 h 70721"/>
                  <a:gd name="connsiteX3" fmla="*/ 413 w 70721"/>
                  <a:gd name="connsiteY3" fmla="*/ 71232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3" y="510"/>
                    </a:moveTo>
                    <a:lnTo>
                      <a:pt x="71135" y="510"/>
                    </a:lnTo>
                    <a:lnTo>
                      <a:pt x="71135" y="71232"/>
                    </a:lnTo>
                    <a:lnTo>
                      <a:pt x="413" y="71232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EA4F65-0400-46D6-84BB-A302D5933810}"/>
                  </a:ext>
                </a:extLst>
              </p:cNvPr>
              <p:cNvSpPr/>
              <p:nvPr/>
            </p:nvSpPr>
            <p:spPr>
              <a:xfrm rot="-4341597">
                <a:off x="5665337" y="3678049"/>
                <a:ext cx="47147" cy="47147"/>
              </a:xfrm>
              <a:custGeom>
                <a:avLst/>
                <a:gdLst>
                  <a:gd name="connsiteX0" fmla="*/ 692 w 47147"/>
                  <a:gd name="connsiteY0" fmla="*/ 234 h 47147"/>
                  <a:gd name="connsiteX1" fmla="*/ 47840 w 47147"/>
                  <a:gd name="connsiteY1" fmla="*/ 234 h 47147"/>
                  <a:gd name="connsiteX2" fmla="*/ 47840 w 47147"/>
                  <a:gd name="connsiteY2" fmla="*/ 47382 h 47147"/>
                  <a:gd name="connsiteX3" fmla="*/ 692 w 47147"/>
                  <a:gd name="connsiteY3" fmla="*/ 47382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692" y="234"/>
                    </a:moveTo>
                    <a:lnTo>
                      <a:pt x="47840" y="234"/>
                    </a:lnTo>
                    <a:lnTo>
                      <a:pt x="47840" y="47382"/>
                    </a:lnTo>
                    <a:lnTo>
                      <a:pt x="692" y="47382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64A4872-1C09-49C4-8376-52ADADE0460E}"/>
                  </a:ext>
                </a:extLst>
              </p:cNvPr>
              <p:cNvSpPr/>
              <p:nvPr/>
            </p:nvSpPr>
            <p:spPr>
              <a:xfrm rot="-4091916">
                <a:off x="5217023" y="3743671"/>
                <a:ext cx="92326" cy="92326"/>
              </a:xfrm>
              <a:custGeom>
                <a:avLst/>
                <a:gdLst>
                  <a:gd name="connsiteX0" fmla="*/ 637 w 92326"/>
                  <a:gd name="connsiteY0" fmla="*/ 246 h 92326"/>
                  <a:gd name="connsiteX1" fmla="*/ 92964 w 92326"/>
                  <a:gd name="connsiteY1" fmla="*/ 246 h 92326"/>
                  <a:gd name="connsiteX2" fmla="*/ 92964 w 92326"/>
                  <a:gd name="connsiteY2" fmla="*/ 92572 h 92326"/>
                  <a:gd name="connsiteX3" fmla="*/ 637 w 92326"/>
                  <a:gd name="connsiteY3" fmla="*/ 92572 h 9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26" h="92326">
                    <a:moveTo>
                      <a:pt x="637" y="246"/>
                    </a:moveTo>
                    <a:lnTo>
                      <a:pt x="92964" y="246"/>
                    </a:lnTo>
                    <a:lnTo>
                      <a:pt x="92964" y="92572"/>
                    </a:lnTo>
                    <a:lnTo>
                      <a:pt x="637" y="92572"/>
                    </a:lnTo>
                    <a:close/>
                  </a:path>
                </a:pathLst>
              </a:custGeom>
              <a:grpFill/>
              <a:ln w="33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B520DC4-CC19-4C76-A28F-4B38F4D29442}"/>
                  </a:ext>
                </a:extLst>
              </p:cNvPr>
              <p:cNvSpPr/>
              <p:nvPr/>
            </p:nvSpPr>
            <p:spPr>
              <a:xfrm rot="-1712401">
                <a:off x="3402858" y="5246770"/>
                <a:ext cx="171446" cy="171446"/>
              </a:xfrm>
              <a:custGeom>
                <a:avLst/>
                <a:gdLst>
                  <a:gd name="connsiteX0" fmla="*/ 409 w 171446"/>
                  <a:gd name="connsiteY0" fmla="*/ 444 h 171446"/>
                  <a:gd name="connsiteX1" fmla="*/ 171855 w 171446"/>
                  <a:gd name="connsiteY1" fmla="*/ 444 h 171446"/>
                  <a:gd name="connsiteX2" fmla="*/ 171855 w 171446"/>
                  <a:gd name="connsiteY2" fmla="*/ 171890 h 171446"/>
                  <a:gd name="connsiteX3" fmla="*/ 409 w 171446"/>
                  <a:gd name="connsiteY3" fmla="*/ 171890 h 17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6" h="171446">
                    <a:moveTo>
                      <a:pt x="409" y="444"/>
                    </a:moveTo>
                    <a:lnTo>
                      <a:pt x="171855" y="444"/>
                    </a:lnTo>
                    <a:lnTo>
                      <a:pt x="171855" y="171890"/>
                    </a:lnTo>
                    <a:lnTo>
                      <a:pt x="409" y="171890"/>
                    </a:lnTo>
                    <a:close/>
                  </a:path>
                </a:pathLst>
              </a:custGeom>
              <a:grpFill/>
              <a:ln w="6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F1BE422-D29F-4916-BF04-6C04E33FAF72}"/>
                  </a:ext>
                </a:extLst>
              </p:cNvPr>
              <p:cNvSpPr/>
              <p:nvPr/>
            </p:nvSpPr>
            <p:spPr>
              <a:xfrm rot="-5400000">
                <a:off x="5705070" y="1885730"/>
                <a:ext cx="68578" cy="68578"/>
              </a:xfrm>
              <a:custGeom>
                <a:avLst/>
                <a:gdLst>
                  <a:gd name="connsiteX0" fmla="*/ 699 w 68578"/>
                  <a:gd name="connsiteY0" fmla="*/ 5 h 68578"/>
                  <a:gd name="connsiteX1" fmla="*/ 69277 w 68578"/>
                  <a:gd name="connsiteY1" fmla="*/ 5 h 68578"/>
                  <a:gd name="connsiteX2" fmla="*/ 69277 w 68578"/>
                  <a:gd name="connsiteY2" fmla="*/ 68583 h 68578"/>
                  <a:gd name="connsiteX3" fmla="*/ 699 w 68578"/>
                  <a:gd name="connsiteY3" fmla="*/ 68583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699" y="5"/>
                    </a:moveTo>
                    <a:lnTo>
                      <a:pt x="69277" y="5"/>
                    </a:lnTo>
                    <a:lnTo>
                      <a:pt x="69277" y="68583"/>
                    </a:lnTo>
                    <a:lnTo>
                      <a:pt x="699" y="68583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E7DAC19-7412-4603-88C3-FD705F2627E6}"/>
                  </a:ext>
                </a:extLst>
              </p:cNvPr>
              <p:cNvSpPr/>
              <p:nvPr/>
            </p:nvSpPr>
            <p:spPr>
              <a:xfrm rot="-2044797">
                <a:off x="4100283" y="5705303"/>
                <a:ext cx="92152" cy="92152"/>
              </a:xfrm>
              <a:custGeom>
                <a:avLst/>
                <a:gdLst>
                  <a:gd name="connsiteX0" fmla="*/ 494 w 92152"/>
                  <a:gd name="connsiteY0" fmla="*/ 498 h 92152"/>
                  <a:gd name="connsiteX1" fmla="*/ 92646 w 92152"/>
                  <a:gd name="connsiteY1" fmla="*/ 498 h 92152"/>
                  <a:gd name="connsiteX2" fmla="*/ 92646 w 92152"/>
                  <a:gd name="connsiteY2" fmla="*/ 92650 h 92152"/>
                  <a:gd name="connsiteX3" fmla="*/ 494 w 92152"/>
                  <a:gd name="connsiteY3" fmla="*/ 92650 h 9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52" h="92152">
                    <a:moveTo>
                      <a:pt x="494" y="498"/>
                    </a:moveTo>
                    <a:lnTo>
                      <a:pt x="92646" y="498"/>
                    </a:lnTo>
                    <a:lnTo>
                      <a:pt x="92646" y="92650"/>
                    </a:lnTo>
                    <a:lnTo>
                      <a:pt x="494" y="92650"/>
                    </a:lnTo>
                    <a:close/>
                  </a:path>
                </a:pathLst>
              </a:custGeom>
              <a:grpFill/>
              <a:ln w="33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F1058C8-7046-4FCD-B8A0-CC80E106D9FA}"/>
                  </a:ext>
                </a:extLst>
              </p:cNvPr>
              <p:cNvSpPr/>
              <p:nvPr/>
            </p:nvSpPr>
            <p:spPr>
              <a:xfrm rot="510601">
                <a:off x="1399307" y="5968952"/>
                <a:ext cx="60006" cy="60006"/>
              </a:xfrm>
              <a:custGeom>
                <a:avLst/>
                <a:gdLst>
                  <a:gd name="connsiteX0" fmla="*/ 144 w 60006"/>
                  <a:gd name="connsiteY0" fmla="*/ 530 h 60006"/>
                  <a:gd name="connsiteX1" fmla="*/ 60150 w 60006"/>
                  <a:gd name="connsiteY1" fmla="*/ 530 h 60006"/>
                  <a:gd name="connsiteX2" fmla="*/ 60150 w 60006"/>
                  <a:gd name="connsiteY2" fmla="*/ 60536 h 60006"/>
                  <a:gd name="connsiteX3" fmla="*/ 144 w 60006"/>
                  <a:gd name="connsiteY3" fmla="*/ 60536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144" y="530"/>
                    </a:moveTo>
                    <a:lnTo>
                      <a:pt x="60150" y="530"/>
                    </a:lnTo>
                    <a:lnTo>
                      <a:pt x="60150" y="60536"/>
                    </a:lnTo>
                    <a:lnTo>
                      <a:pt x="144" y="60536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8D7ED11-0A9E-4C41-8420-84BBF4E61D50}"/>
                  </a:ext>
                </a:extLst>
              </p:cNvPr>
              <p:cNvSpPr/>
              <p:nvPr/>
            </p:nvSpPr>
            <p:spPr>
              <a:xfrm rot="-1575015">
                <a:off x="3300418" y="5344439"/>
                <a:ext cx="174433" cy="174433"/>
              </a:xfrm>
              <a:custGeom>
                <a:avLst/>
                <a:gdLst>
                  <a:gd name="connsiteX0" fmla="*/ 396 w 174433"/>
                  <a:gd name="connsiteY0" fmla="*/ 457 h 174433"/>
                  <a:gd name="connsiteX1" fmla="*/ 174830 w 174433"/>
                  <a:gd name="connsiteY1" fmla="*/ 457 h 174433"/>
                  <a:gd name="connsiteX2" fmla="*/ 174830 w 174433"/>
                  <a:gd name="connsiteY2" fmla="*/ 174891 h 174433"/>
                  <a:gd name="connsiteX3" fmla="*/ 396 w 174433"/>
                  <a:gd name="connsiteY3" fmla="*/ 174891 h 17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433" h="174433">
                    <a:moveTo>
                      <a:pt x="396" y="457"/>
                    </a:moveTo>
                    <a:lnTo>
                      <a:pt x="174830" y="457"/>
                    </a:lnTo>
                    <a:lnTo>
                      <a:pt x="174830" y="174891"/>
                    </a:lnTo>
                    <a:lnTo>
                      <a:pt x="396" y="174891"/>
                    </a:lnTo>
                    <a:close/>
                  </a:path>
                </a:pathLst>
              </a:custGeom>
              <a:grpFill/>
              <a:ln w="6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3474BF-6435-4181-BDEB-04D3E45D538C}"/>
                  </a:ext>
                </a:extLst>
              </p:cNvPr>
              <p:cNvSpPr/>
              <p:nvPr/>
            </p:nvSpPr>
            <p:spPr>
              <a:xfrm rot="-2352432">
                <a:off x="4319937" y="5415962"/>
                <a:ext cx="105098" cy="105098"/>
              </a:xfrm>
              <a:custGeom>
                <a:avLst/>
                <a:gdLst>
                  <a:gd name="connsiteX0" fmla="*/ 523 w 105098"/>
                  <a:gd name="connsiteY0" fmla="*/ 462 h 105098"/>
                  <a:gd name="connsiteX1" fmla="*/ 105621 w 105098"/>
                  <a:gd name="connsiteY1" fmla="*/ 462 h 105098"/>
                  <a:gd name="connsiteX2" fmla="*/ 105621 w 105098"/>
                  <a:gd name="connsiteY2" fmla="*/ 105560 h 105098"/>
                  <a:gd name="connsiteX3" fmla="*/ 523 w 105098"/>
                  <a:gd name="connsiteY3" fmla="*/ 105560 h 10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98" h="105098">
                    <a:moveTo>
                      <a:pt x="523" y="462"/>
                    </a:moveTo>
                    <a:lnTo>
                      <a:pt x="105621" y="462"/>
                    </a:lnTo>
                    <a:lnTo>
                      <a:pt x="105621" y="105560"/>
                    </a:lnTo>
                    <a:lnTo>
                      <a:pt x="523" y="105560"/>
                    </a:lnTo>
                    <a:close/>
                  </a:path>
                </a:pathLst>
              </a:custGeom>
              <a:grpFill/>
              <a:ln w="38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6A92734-AFD0-47FF-886D-15EA45C99220}"/>
                  </a:ext>
                </a:extLst>
              </p:cNvPr>
              <p:cNvSpPr/>
              <p:nvPr/>
            </p:nvSpPr>
            <p:spPr>
              <a:xfrm rot="-5035652">
                <a:off x="5140107" y="2797243"/>
                <a:ext cx="101292" cy="101292"/>
              </a:xfrm>
              <a:custGeom>
                <a:avLst/>
                <a:gdLst>
                  <a:gd name="connsiteX0" fmla="*/ 628 w 101292"/>
                  <a:gd name="connsiteY0" fmla="*/ 124 h 101292"/>
                  <a:gd name="connsiteX1" fmla="*/ 101921 w 101292"/>
                  <a:gd name="connsiteY1" fmla="*/ 124 h 101292"/>
                  <a:gd name="connsiteX2" fmla="*/ 101921 w 101292"/>
                  <a:gd name="connsiteY2" fmla="*/ 101417 h 101292"/>
                  <a:gd name="connsiteX3" fmla="*/ 628 w 101292"/>
                  <a:gd name="connsiteY3" fmla="*/ 101417 h 10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292" h="101292">
                    <a:moveTo>
                      <a:pt x="628" y="124"/>
                    </a:moveTo>
                    <a:lnTo>
                      <a:pt x="101921" y="124"/>
                    </a:lnTo>
                    <a:lnTo>
                      <a:pt x="101921" y="101417"/>
                    </a:lnTo>
                    <a:lnTo>
                      <a:pt x="628" y="101417"/>
                    </a:lnTo>
                    <a:close/>
                  </a:path>
                </a:pathLst>
              </a:custGeom>
              <a:grpFill/>
              <a:ln w="36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12C85AB-9851-422E-837D-9C54369E9367}"/>
                  </a:ext>
                </a:extLst>
              </p:cNvPr>
              <p:cNvSpPr/>
              <p:nvPr/>
            </p:nvSpPr>
            <p:spPr>
              <a:xfrm rot="775201">
                <a:off x="991075" y="6157684"/>
                <a:ext cx="203592" cy="203592"/>
              </a:xfrm>
              <a:custGeom>
                <a:avLst/>
                <a:gdLst>
                  <a:gd name="connsiteX0" fmla="*/ 101 w 203592"/>
                  <a:gd name="connsiteY0" fmla="*/ 563 h 203592"/>
                  <a:gd name="connsiteX1" fmla="*/ 203693 w 203592"/>
                  <a:gd name="connsiteY1" fmla="*/ 563 h 203592"/>
                  <a:gd name="connsiteX2" fmla="*/ 203693 w 203592"/>
                  <a:gd name="connsiteY2" fmla="*/ 204156 h 203592"/>
                  <a:gd name="connsiteX3" fmla="*/ 101 w 203592"/>
                  <a:gd name="connsiteY3" fmla="*/ 204156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101" y="563"/>
                    </a:moveTo>
                    <a:lnTo>
                      <a:pt x="203693" y="563"/>
                    </a:lnTo>
                    <a:lnTo>
                      <a:pt x="203693" y="204156"/>
                    </a:lnTo>
                    <a:lnTo>
                      <a:pt x="101" y="204156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40198C7-72B5-4A9A-A522-286A92D99C52}"/>
                  </a:ext>
                </a:extLst>
              </p:cNvPr>
              <p:cNvSpPr/>
              <p:nvPr/>
            </p:nvSpPr>
            <p:spPr>
              <a:xfrm rot="1006199">
                <a:off x="804182" y="5880741"/>
                <a:ext cx="205735" cy="205735"/>
              </a:xfrm>
              <a:custGeom>
                <a:avLst/>
                <a:gdLst>
                  <a:gd name="connsiteX0" fmla="*/ 77 w 205735"/>
                  <a:gd name="connsiteY0" fmla="*/ 528 h 205735"/>
                  <a:gd name="connsiteX1" fmla="*/ 205812 w 205735"/>
                  <a:gd name="connsiteY1" fmla="*/ 528 h 205735"/>
                  <a:gd name="connsiteX2" fmla="*/ 205812 w 205735"/>
                  <a:gd name="connsiteY2" fmla="*/ 206263 h 205735"/>
                  <a:gd name="connsiteX3" fmla="*/ 77 w 205735"/>
                  <a:gd name="connsiteY3" fmla="*/ 206263 h 205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35" h="205735">
                    <a:moveTo>
                      <a:pt x="77" y="528"/>
                    </a:moveTo>
                    <a:lnTo>
                      <a:pt x="205812" y="528"/>
                    </a:lnTo>
                    <a:lnTo>
                      <a:pt x="205812" y="206263"/>
                    </a:lnTo>
                    <a:lnTo>
                      <a:pt x="77" y="206263"/>
                    </a:lnTo>
                    <a:close/>
                  </a:path>
                </a:pathLst>
              </a:custGeom>
              <a:grpFill/>
              <a:ln w="74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7EBBC95-5937-4785-B2F9-0AA07706B67F}"/>
                  </a:ext>
                </a:extLst>
              </p:cNvPr>
              <p:cNvSpPr/>
              <p:nvPr/>
            </p:nvSpPr>
            <p:spPr>
              <a:xfrm rot="330000">
                <a:off x="1526834" y="5938727"/>
                <a:ext cx="173589" cy="173589"/>
              </a:xfrm>
              <a:custGeom>
                <a:avLst/>
                <a:gdLst>
                  <a:gd name="connsiteX0" fmla="*/ 168 w 173589"/>
                  <a:gd name="connsiteY0" fmla="*/ 533 h 173589"/>
                  <a:gd name="connsiteX1" fmla="*/ 173757 w 173589"/>
                  <a:gd name="connsiteY1" fmla="*/ 533 h 173589"/>
                  <a:gd name="connsiteX2" fmla="*/ 173757 w 173589"/>
                  <a:gd name="connsiteY2" fmla="*/ 174122 h 173589"/>
                  <a:gd name="connsiteX3" fmla="*/ 168 w 173589"/>
                  <a:gd name="connsiteY3" fmla="*/ 174122 h 17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589" h="173589">
                    <a:moveTo>
                      <a:pt x="168" y="533"/>
                    </a:moveTo>
                    <a:lnTo>
                      <a:pt x="173757" y="533"/>
                    </a:lnTo>
                    <a:lnTo>
                      <a:pt x="173757" y="174122"/>
                    </a:lnTo>
                    <a:lnTo>
                      <a:pt x="168" y="174122"/>
                    </a:lnTo>
                    <a:close/>
                  </a:path>
                </a:pathLst>
              </a:custGeom>
              <a:grpFill/>
              <a:ln w="62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502F7BE-D504-415B-91AB-016C68B60EB7}"/>
                  </a:ext>
                </a:extLst>
              </p:cNvPr>
              <p:cNvSpPr/>
              <p:nvPr/>
            </p:nvSpPr>
            <p:spPr>
              <a:xfrm rot="-1267799">
                <a:off x="3213286" y="5929493"/>
                <a:ext cx="212164" cy="212164"/>
              </a:xfrm>
              <a:custGeom>
                <a:avLst/>
                <a:gdLst>
                  <a:gd name="connsiteX0" fmla="*/ 387 w 212164"/>
                  <a:gd name="connsiteY0" fmla="*/ 535 h 212164"/>
                  <a:gd name="connsiteX1" fmla="*/ 212552 w 212164"/>
                  <a:gd name="connsiteY1" fmla="*/ 535 h 212164"/>
                  <a:gd name="connsiteX2" fmla="*/ 212552 w 212164"/>
                  <a:gd name="connsiteY2" fmla="*/ 212699 h 212164"/>
                  <a:gd name="connsiteX3" fmla="*/ 387 w 212164"/>
                  <a:gd name="connsiteY3" fmla="*/ 212699 h 21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164" h="212164">
                    <a:moveTo>
                      <a:pt x="387" y="535"/>
                    </a:moveTo>
                    <a:lnTo>
                      <a:pt x="212552" y="535"/>
                    </a:lnTo>
                    <a:lnTo>
                      <a:pt x="212552" y="212699"/>
                    </a:lnTo>
                    <a:lnTo>
                      <a:pt x="387" y="212699"/>
                    </a:lnTo>
                    <a:close/>
                  </a:path>
                </a:pathLst>
              </a:custGeom>
              <a:grpFill/>
              <a:ln w="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8A6C0C2-47F8-46D7-9D62-B4F78C0B1E05}"/>
                  </a:ext>
                </a:extLst>
              </p:cNvPr>
              <p:cNvSpPr/>
              <p:nvPr/>
            </p:nvSpPr>
            <p:spPr>
              <a:xfrm rot="-492599">
                <a:off x="2423172" y="6188452"/>
                <a:ext cx="160730" cy="160730"/>
              </a:xfrm>
              <a:custGeom>
                <a:avLst/>
                <a:gdLst>
                  <a:gd name="connsiteX0" fmla="*/ 282 w 160730"/>
                  <a:gd name="connsiteY0" fmla="*/ 565 h 160730"/>
                  <a:gd name="connsiteX1" fmla="*/ 161013 w 160730"/>
                  <a:gd name="connsiteY1" fmla="*/ 565 h 160730"/>
                  <a:gd name="connsiteX2" fmla="*/ 161013 w 160730"/>
                  <a:gd name="connsiteY2" fmla="*/ 161295 h 160730"/>
                  <a:gd name="connsiteX3" fmla="*/ 282 w 160730"/>
                  <a:gd name="connsiteY3" fmla="*/ 161295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82" y="565"/>
                    </a:moveTo>
                    <a:lnTo>
                      <a:pt x="161013" y="565"/>
                    </a:lnTo>
                    <a:lnTo>
                      <a:pt x="161013" y="161295"/>
                    </a:lnTo>
                    <a:lnTo>
                      <a:pt x="282" y="161295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DF3D6E8-3C11-462C-8306-569EECB86AC5}"/>
                  </a:ext>
                </a:extLst>
              </p:cNvPr>
              <p:cNvSpPr/>
              <p:nvPr/>
            </p:nvSpPr>
            <p:spPr>
              <a:xfrm rot="789001">
                <a:off x="1201972" y="5596531"/>
                <a:ext cx="47147" cy="47147"/>
              </a:xfrm>
              <a:custGeom>
                <a:avLst/>
                <a:gdLst>
                  <a:gd name="connsiteX0" fmla="*/ 118 w 47147"/>
                  <a:gd name="connsiteY0" fmla="*/ 481 h 47147"/>
                  <a:gd name="connsiteX1" fmla="*/ 47265 w 47147"/>
                  <a:gd name="connsiteY1" fmla="*/ 481 h 47147"/>
                  <a:gd name="connsiteX2" fmla="*/ 47265 w 47147"/>
                  <a:gd name="connsiteY2" fmla="*/ 47629 h 47147"/>
                  <a:gd name="connsiteX3" fmla="*/ 118 w 47147"/>
                  <a:gd name="connsiteY3" fmla="*/ 47629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118" y="481"/>
                    </a:moveTo>
                    <a:lnTo>
                      <a:pt x="47265" y="481"/>
                    </a:lnTo>
                    <a:lnTo>
                      <a:pt x="47265" y="47629"/>
                    </a:lnTo>
                    <a:lnTo>
                      <a:pt x="118" y="47629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CC2A866-02BB-4B4A-8D2E-09CB2BE8F900}"/>
                  </a:ext>
                </a:extLst>
              </p:cNvPr>
              <p:cNvSpPr/>
              <p:nvPr/>
            </p:nvSpPr>
            <p:spPr>
              <a:xfrm rot="1241401">
                <a:off x="718108" y="5659826"/>
                <a:ext cx="45004" cy="45004"/>
              </a:xfrm>
              <a:custGeom>
                <a:avLst/>
                <a:gdLst>
                  <a:gd name="connsiteX0" fmla="*/ 55 w 45004"/>
                  <a:gd name="connsiteY0" fmla="*/ 489 h 45004"/>
                  <a:gd name="connsiteX1" fmla="*/ 45060 w 45004"/>
                  <a:gd name="connsiteY1" fmla="*/ 489 h 45004"/>
                  <a:gd name="connsiteX2" fmla="*/ 45060 w 45004"/>
                  <a:gd name="connsiteY2" fmla="*/ 45494 h 45004"/>
                  <a:gd name="connsiteX3" fmla="*/ 55 w 45004"/>
                  <a:gd name="connsiteY3" fmla="*/ 45494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55" y="489"/>
                    </a:moveTo>
                    <a:lnTo>
                      <a:pt x="45060" y="489"/>
                    </a:lnTo>
                    <a:lnTo>
                      <a:pt x="45060" y="45494"/>
                    </a:lnTo>
                    <a:lnTo>
                      <a:pt x="55" y="45494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8DC91C4C-3E31-44F5-8840-EAED58363E50}"/>
                  </a:ext>
                </a:extLst>
              </p:cNvPr>
              <p:cNvSpPr/>
              <p:nvPr/>
            </p:nvSpPr>
            <p:spPr>
              <a:xfrm rot="-1729201">
                <a:off x="3600369" y="5578170"/>
                <a:ext cx="182161" cy="182161"/>
              </a:xfrm>
              <a:custGeom>
                <a:avLst/>
                <a:gdLst>
                  <a:gd name="connsiteX0" fmla="*/ 435 w 182161"/>
                  <a:gd name="connsiteY0" fmla="*/ 487 h 182161"/>
                  <a:gd name="connsiteX1" fmla="*/ 182597 w 182161"/>
                  <a:gd name="connsiteY1" fmla="*/ 487 h 182161"/>
                  <a:gd name="connsiteX2" fmla="*/ 182597 w 182161"/>
                  <a:gd name="connsiteY2" fmla="*/ 182649 h 182161"/>
                  <a:gd name="connsiteX3" fmla="*/ 435 w 182161"/>
                  <a:gd name="connsiteY3" fmla="*/ 182649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435" y="487"/>
                    </a:moveTo>
                    <a:lnTo>
                      <a:pt x="182597" y="487"/>
                    </a:lnTo>
                    <a:lnTo>
                      <a:pt x="182597" y="182649"/>
                    </a:lnTo>
                    <a:lnTo>
                      <a:pt x="435" y="182649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944D561-A3CD-4339-9764-6198BC93AC49}"/>
                  </a:ext>
                </a:extLst>
              </p:cNvPr>
              <p:cNvSpPr/>
              <p:nvPr/>
            </p:nvSpPr>
            <p:spPr>
              <a:xfrm rot="868218">
                <a:off x="1045268" y="5642109"/>
                <a:ext cx="137223" cy="137223"/>
              </a:xfrm>
              <a:custGeom>
                <a:avLst/>
                <a:gdLst>
                  <a:gd name="connsiteX0" fmla="*/ 103 w 137223"/>
                  <a:gd name="connsiteY0" fmla="*/ 493 h 137223"/>
                  <a:gd name="connsiteX1" fmla="*/ 137327 w 137223"/>
                  <a:gd name="connsiteY1" fmla="*/ 493 h 137223"/>
                  <a:gd name="connsiteX2" fmla="*/ 137327 w 137223"/>
                  <a:gd name="connsiteY2" fmla="*/ 137717 h 137223"/>
                  <a:gd name="connsiteX3" fmla="*/ 103 w 137223"/>
                  <a:gd name="connsiteY3" fmla="*/ 137717 h 137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223" h="137223">
                    <a:moveTo>
                      <a:pt x="103" y="493"/>
                    </a:moveTo>
                    <a:lnTo>
                      <a:pt x="137327" y="493"/>
                    </a:lnTo>
                    <a:lnTo>
                      <a:pt x="137327" y="137717"/>
                    </a:lnTo>
                    <a:lnTo>
                      <a:pt x="103" y="137717"/>
                    </a:lnTo>
                    <a:close/>
                  </a:path>
                </a:pathLst>
              </a:custGeom>
              <a:grpFill/>
              <a:ln w="49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EA976D6-5D70-4E09-B688-7485873641A0}"/>
                  </a:ext>
                </a:extLst>
              </p:cNvPr>
              <p:cNvSpPr/>
              <p:nvPr/>
            </p:nvSpPr>
            <p:spPr>
              <a:xfrm rot="-2357364">
                <a:off x="4071377" y="5080475"/>
                <a:ext cx="91376" cy="91376"/>
              </a:xfrm>
              <a:custGeom>
                <a:avLst/>
                <a:gdLst>
                  <a:gd name="connsiteX0" fmla="*/ 490 w 91376"/>
                  <a:gd name="connsiteY0" fmla="*/ 418 h 91376"/>
                  <a:gd name="connsiteX1" fmla="*/ 91866 w 91376"/>
                  <a:gd name="connsiteY1" fmla="*/ 418 h 91376"/>
                  <a:gd name="connsiteX2" fmla="*/ 91866 w 91376"/>
                  <a:gd name="connsiteY2" fmla="*/ 91794 h 91376"/>
                  <a:gd name="connsiteX3" fmla="*/ 490 w 91376"/>
                  <a:gd name="connsiteY3" fmla="*/ 91794 h 9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376" h="91376">
                    <a:moveTo>
                      <a:pt x="490" y="418"/>
                    </a:moveTo>
                    <a:lnTo>
                      <a:pt x="91866" y="418"/>
                    </a:lnTo>
                    <a:lnTo>
                      <a:pt x="91866" y="91794"/>
                    </a:lnTo>
                    <a:lnTo>
                      <a:pt x="490" y="91794"/>
                    </a:lnTo>
                    <a:close/>
                  </a:path>
                </a:pathLst>
              </a:custGeom>
              <a:grpFill/>
              <a:ln w="3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15A910E-7825-48FE-98FB-43272C824648}"/>
                  </a:ext>
                </a:extLst>
              </p:cNvPr>
              <p:cNvSpPr/>
              <p:nvPr/>
            </p:nvSpPr>
            <p:spPr>
              <a:xfrm rot="-5400000">
                <a:off x="5359986" y="2516956"/>
                <a:ext cx="55719" cy="55719"/>
              </a:xfrm>
              <a:custGeom>
                <a:avLst/>
                <a:gdLst>
                  <a:gd name="connsiteX0" fmla="*/ 653 w 55719"/>
                  <a:gd name="connsiteY0" fmla="*/ 85 h 55719"/>
                  <a:gd name="connsiteX1" fmla="*/ 56373 w 55719"/>
                  <a:gd name="connsiteY1" fmla="*/ 85 h 55719"/>
                  <a:gd name="connsiteX2" fmla="*/ 56373 w 55719"/>
                  <a:gd name="connsiteY2" fmla="*/ 55805 h 55719"/>
                  <a:gd name="connsiteX3" fmla="*/ 653 w 55719"/>
                  <a:gd name="connsiteY3" fmla="*/ 55805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653" y="85"/>
                    </a:moveTo>
                    <a:lnTo>
                      <a:pt x="56373" y="85"/>
                    </a:lnTo>
                    <a:lnTo>
                      <a:pt x="56373" y="55805"/>
                    </a:lnTo>
                    <a:lnTo>
                      <a:pt x="653" y="55805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85DE3A0-ED24-4BDC-BE08-B4C4E67A6BAD}"/>
                  </a:ext>
                </a:extLst>
              </p:cNvPr>
              <p:cNvSpPr/>
              <p:nvPr/>
            </p:nvSpPr>
            <p:spPr>
              <a:xfrm rot="-3425685">
                <a:off x="5177210" y="4594072"/>
                <a:ext cx="86787" cy="86787"/>
              </a:xfrm>
              <a:custGeom>
                <a:avLst/>
                <a:gdLst>
                  <a:gd name="connsiteX0" fmla="*/ 632 w 86787"/>
                  <a:gd name="connsiteY0" fmla="*/ 355 h 86787"/>
                  <a:gd name="connsiteX1" fmla="*/ 87420 w 86787"/>
                  <a:gd name="connsiteY1" fmla="*/ 355 h 86787"/>
                  <a:gd name="connsiteX2" fmla="*/ 87420 w 86787"/>
                  <a:gd name="connsiteY2" fmla="*/ 87143 h 86787"/>
                  <a:gd name="connsiteX3" fmla="*/ 632 w 86787"/>
                  <a:gd name="connsiteY3" fmla="*/ 87143 h 8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787" h="86787">
                    <a:moveTo>
                      <a:pt x="632" y="355"/>
                    </a:moveTo>
                    <a:lnTo>
                      <a:pt x="87420" y="355"/>
                    </a:lnTo>
                    <a:lnTo>
                      <a:pt x="87420" y="87143"/>
                    </a:lnTo>
                    <a:lnTo>
                      <a:pt x="632" y="87143"/>
                    </a:lnTo>
                    <a:close/>
                  </a:path>
                </a:pathLst>
              </a:custGeom>
              <a:grpFill/>
              <a:ln w="31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1E91BC47-802E-4111-9F9A-CF2484995539}"/>
                  </a:ext>
                </a:extLst>
              </p:cNvPr>
              <p:cNvSpPr/>
              <p:nvPr/>
            </p:nvSpPr>
            <p:spPr>
              <a:xfrm rot="-1334941">
                <a:off x="3298532" y="5788608"/>
                <a:ext cx="101880" cy="101880"/>
              </a:xfrm>
              <a:custGeom>
                <a:avLst/>
                <a:gdLst>
                  <a:gd name="connsiteX0" fmla="*/ 391 w 101880"/>
                  <a:gd name="connsiteY0" fmla="*/ 509 h 101880"/>
                  <a:gd name="connsiteX1" fmla="*/ 102272 w 101880"/>
                  <a:gd name="connsiteY1" fmla="*/ 509 h 101880"/>
                  <a:gd name="connsiteX2" fmla="*/ 102272 w 101880"/>
                  <a:gd name="connsiteY2" fmla="*/ 102390 h 101880"/>
                  <a:gd name="connsiteX3" fmla="*/ 391 w 101880"/>
                  <a:gd name="connsiteY3" fmla="*/ 102390 h 101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80" h="101880">
                    <a:moveTo>
                      <a:pt x="391" y="509"/>
                    </a:moveTo>
                    <a:lnTo>
                      <a:pt x="102272" y="509"/>
                    </a:lnTo>
                    <a:lnTo>
                      <a:pt x="102272" y="102390"/>
                    </a:lnTo>
                    <a:lnTo>
                      <a:pt x="391" y="102390"/>
                    </a:lnTo>
                    <a:close/>
                  </a:path>
                </a:pathLst>
              </a:custGeom>
              <a:grpFill/>
              <a:ln w="3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F1C3210-61DB-4E34-8A93-D67E87E6C9C1}"/>
                  </a:ext>
                </a:extLst>
              </p:cNvPr>
              <p:cNvSpPr/>
              <p:nvPr/>
            </p:nvSpPr>
            <p:spPr>
              <a:xfrm rot="-5400000">
                <a:off x="5135500" y="2429219"/>
                <a:ext cx="85723" cy="85723"/>
              </a:xfrm>
              <a:custGeom>
                <a:avLst/>
                <a:gdLst>
                  <a:gd name="connsiteX0" fmla="*/ 626 w 85723"/>
                  <a:gd name="connsiteY0" fmla="*/ 76 h 85723"/>
                  <a:gd name="connsiteX1" fmla="*/ 86349 w 85723"/>
                  <a:gd name="connsiteY1" fmla="*/ 76 h 85723"/>
                  <a:gd name="connsiteX2" fmla="*/ 86349 w 85723"/>
                  <a:gd name="connsiteY2" fmla="*/ 85799 h 85723"/>
                  <a:gd name="connsiteX3" fmla="*/ 626 w 85723"/>
                  <a:gd name="connsiteY3" fmla="*/ 85799 h 8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3" h="85723">
                    <a:moveTo>
                      <a:pt x="626" y="76"/>
                    </a:moveTo>
                    <a:lnTo>
                      <a:pt x="86349" y="76"/>
                    </a:lnTo>
                    <a:lnTo>
                      <a:pt x="86349" y="85799"/>
                    </a:lnTo>
                    <a:lnTo>
                      <a:pt x="626" y="85799"/>
                    </a:lnTo>
                    <a:close/>
                  </a:path>
                </a:pathLst>
              </a:custGeom>
              <a:grpFill/>
              <a:ln w="31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4AFE7CA-8CB9-4746-AC36-B64939DE44E7}"/>
                  </a:ext>
                </a:extLst>
              </p:cNvPr>
              <p:cNvSpPr/>
              <p:nvPr/>
            </p:nvSpPr>
            <p:spPr>
              <a:xfrm rot="-4605002">
                <a:off x="5687639" y="3353398"/>
                <a:ext cx="107153" cy="107153"/>
              </a:xfrm>
              <a:custGeom>
                <a:avLst/>
                <a:gdLst>
                  <a:gd name="connsiteX0" fmla="*/ 699 w 107153"/>
                  <a:gd name="connsiteY0" fmla="*/ 196 h 107153"/>
                  <a:gd name="connsiteX1" fmla="*/ 107853 w 107153"/>
                  <a:gd name="connsiteY1" fmla="*/ 196 h 107153"/>
                  <a:gd name="connsiteX2" fmla="*/ 107853 w 107153"/>
                  <a:gd name="connsiteY2" fmla="*/ 107350 h 107153"/>
                  <a:gd name="connsiteX3" fmla="*/ 699 w 107153"/>
                  <a:gd name="connsiteY3" fmla="*/ 107350 h 10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153" h="107153">
                    <a:moveTo>
                      <a:pt x="699" y="196"/>
                    </a:moveTo>
                    <a:lnTo>
                      <a:pt x="107853" y="196"/>
                    </a:lnTo>
                    <a:lnTo>
                      <a:pt x="107853" y="107350"/>
                    </a:lnTo>
                    <a:lnTo>
                      <a:pt x="699" y="107350"/>
                    </a:lnTo>
                    <a:close/>
                  </a:path>
                </a:pathLst>
              </a:custGeom>
              <a:grpFill/>
              <a:ln w="3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6C0C5-3FB6-4ECA-88AD-3592A6EF9611}"/>
                  </a:ext>
                </a:extLst>
              </p:cNvPr>
              <p:cNvSpPr/>
              <p:nvPr/>
            </p:nvSpPr>
            <p:spPr>
              <a:xfrm rot="-1411198">
                <a:off x="3126150" y="5351158"/>
                <a:ext cx="233595" cy="233595"/>
              </a:xfrm>
              <a:custGeom>
                <a:avLst/>
                <a:gdLst>
                  <a:gd name="connsiteX0" fmla="*/ 377 w 233595"/>
                  <a:gd name="connsiteY0" fmla="*/ 462 h 233595"/>
                  <a:gd name="connsiteX1" fmla="*/ 233973 w 233595"/>
                  <a:gd name="connsiteY1" fmla="*/ 462 h 233595"/>
                  <a:gd name="connsiteX2" fmla="*/ 233973 w 233595"/>
                  <a:gd name="connsiteY2" fmla="*/ 234057 h 233595"/>
                  <a:gd name="connsiteX3" fmla="*/ 377 w 233595"/>
                  <a:gd name="connsiteY3" fmla="*/ 234057 h 23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595" h="233595">
                    <a:moveTo>
                      <a:pt x="377" y="462"/>
                    </a:moveTo>
                    <a:lnTo>
                      <a:pt x="233973" y="462"/>
                    </a:lnTo>
                    <a:lnTo>
                      <a:pt x="233973" y="234057"/>
                    </a:lnTo>
                    <a:lnTo>
                      <a:pt x="377" y="234057"/>
                    </a:lnTo>
                    <a:close/>
                  </a:path>
                </a:pathLst>
              </a:custGeom>
              <a:grpFill/>
              <a:ln w="8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E65C47-5F3A-4F12-A45E-20E400F54640}"/>
                  </a:ext>
                </a:extLst>
              </p:cNvPr>
              <p:cNvSpPr/>
              <p:nvPr/>
            </p:nvSpPr>
            <p:spPr>
              <a:xfrm rot="-1222203">
                <a:off x="3100657" y="5650722"/>
                <a:ext cx="72864" cy="72864"/>
              </a:xfrm>
              <a:custGeom>
                <a:avLst/>
                <a:gdLst>
                  <a:gd name="connsiteX0" fmla="*/ 364 w 72864"/>
                  <a:gd name="connsiteY0" fmla="*/ 490 h 72864"/>
                  <a:gd name="connsiteX1" fmla="*/ 73228 w 72864"/>
                  <a:gd name="connsiteY1" fmla="*/ 490 h 72864"/>
                  <a:gd name="connsiteX2" fmla="*/ 73228 w 72864"/>
                  <a:gd name="connsiteY2" fmla="*/ 73354 h 72864"/>
                  <a:gd name="connsiteX3" fmla="*/ 364 w 72864"/>
                  <a:gd name="connsiteY3" fmla="*/ 73354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364" y="490"/>
                    </a:moveTo>
                    <a:lnTo>
                      <a:pt x="73228" y="490"/>
                    </a:lnTo>
                    <a:lnTo>
                      <a:pt x="73228" y="73354"/>
                    </a:lnTo>
                    <a:lnTo>
                      <a:pt x="364" y="73354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2011F-FAB6-42AF-A957-02F06E7F875A}"/>
                  </a:ext>
                </a:extLst>
              </p:cNvPr>
              <p:cNvSpPr/>
              <p:nvPr/>
            </p:nvSpPr>
            <p:spPr>
              <a:xfrm rot="1241403">
                <a:off x="382098" y="5915989"/>
                <a:ext cx="87866" cy="87866"/>
              </a:xfrm>
              <a:custGeom>
                <a:avLst/>
                <a:gdLst>
                  <a:gd name="connsiteX0" fmla="*/ 15 w 87866"/>
                  <a:gd name="connsiteY0" fmla="*/ 525 h 87866"/>
                  <a:gd name="connsiteX1" fmla="*/ 87881 w 87866"/>
                  <a:gd name="connsiteY1" fmla="*/ 525 h 87866"/>
                  <a:gd name="connsiteX2" fmla="*/ 87881 w 87866"/>
                  <a:gd name="connsiteY2" fmla="*/ 88391 h 87866"/>
                  <a:gd name="connsiteX3" fmla="*/ 15 w 87866"/>
                  <a:gd name="connsiteY3" fmla="*/ 88391 h 87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866" h="87866">
                    <a:moveTo>
                      <a:pt x="15" y="525"/>
                    </a:moveTo>
                    <a:lnTo>
                      <a:pt x="87881" y="525"/>
                    </a:lnTo>
                    <a:lnTo>
                      <a:pt x="87881" y="88391"/>
                    </a:lnTo>
                    <a:lnTo>
                      <a:pt x="15" y="88391"/>
                    </a:lnTo>
                    <a:close/>
                  </a:path>
                </a:pathLst>
              </a:custGeom>
              <a:grpFill/>
              <a:ln w="31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66C0482-A92A-492C-A141-B9E42496A4A2}"/>
                  </a:ext>
                </a:extLst>
              </p:cNvPr>
              <p:cNvSpPr/>
              <p:nvPr/>
            </p:nvSpPr>
            <p:spPr>
              <a:xfrm rot="-5184000">
                <a:off x="5163831" y="2665865"/>
                <a:ext cx="111439" cy="111439"/>
              </a:xfrm>
              <a:custGeom>
                <a:avLst/>
                <a:gdLst>
                  <a:gd name="connsiteX0" fmla="*/ 632 w 111439"/>
                  <a:gd name="connsiteY0" fmla="*/ 108 h 111439"/>
                  <a:gd name="connsiteX1" fmla="*/ 112072 w 111439"/>
                  <a:gd name="connsiteY1" fmla="*/ 108 h 111439"/>
                  <a:gd name="connsiteX2" fmla="*/ 112072 w 111439"/>
                  <a:gd name="connsiteY2" fmla="*/ 111548 h 111439"/>
                  <a:gd name="connsiteX3" fmla="*/ 632 w 111439"/>
                  <a:gd name="connsiteY3" fmla="*/ 111548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632" y="108"/>
                    </a:moveTo>
                    <a:lnTo>
                      <a:pt x="112072" y="108"/>
                    </a:lnTo>
                    <a:lnTo>
                      <a:pt x="112072" y="111548"/>
                    </a:lnTo>
                    <a:lnTo>
                      <a:pt x="632" y="111548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47BC3DE-853E-4EEE-BE9C-BAAF86189E8B}"/>
                  </a:ext>
                </a:extLst>
              </p:cNvPr>
              <p:cNvSpPr/>
              <p:nvPr/>
            </p:nvSpPr>
            <p:spPr>
              <a:xfrm rot="-1406996">
                <a:off x="3461077" y="6034635"/>
                <a:ext cx="81436" cy="81436"/>
              </a:xfrm>
              <a:custGeom>
                <a:avLst/>
                <a:gdLst>
                  <a:gd name="connsiteX0" fmla="*/ 411 w 81436"/>
                  <a:gd name="connsiteY0" fmla="*/ 540 h 81436"/>
                  <a:gd name="connsiteX1" fmla="*/ 81847 w 81436"/>
                  <a:gd name="connsiteY1" fmla="*/ 540 h 81436"/>
                  <a:gd name="connsiteX2" fmla="*/ 81847 w 81436"/>
                  <a:gd name="connsiteY2" fmla="*/ 81977 h 81436"/>
                  <a:gd name="connsiteX3" fmla="*/ 411 w 81436"/>
                  <a:gd name="connsiteY3" fmla="*/ 81977 h 8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436" h="81436">
                    <a:moveTo>
                      <a:pt x="411" y="540"/>
                    </a:moveTo>
                    <a:lnTo>
                      <a:pt x="81847" y="540"/>
                    </a:lnTo>
                    <a:lnTo>
                      <a:pt x="81847" y="81977"/>
                    </a:lnTo>
                    <a:lnTo>
                      <a:pt x="411" y="81977"/>
                    </a:lnTo>
                    <a:close/>
                  </a:path>
                </a:pathLst>
              </a:custGeom>
              <a:grpFill/>
              <a:ln w="29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2BA56090-F347-467B-983E-751FAF1DD914}"/>
                  </a:ext>
                </a:extLst>
              </p:cNvPr>
              <p:cNvSpPr/>
              <p:nvPr/>
            </p:nvSpPr>
            <p:spPr>
              <a:xfrm rot="-4484399">
                <a:off x="4997832" y="3316600"/>
                <a:ext cx="79293" cy="79293"/>
              </a:xfrm>
              <a:custGeom>
                <a:avLst/>
                <a:gdLst>
                  <a:gd name="connsiteX0" fmla="*/ 608 w 79293"/>
                  <a:gd name="connsiteY0" fmla="*/ 190 h 79293"/>
                  <a:gd name="connsiteX1" fmla="*/ 79902 w 79293"/>
                  <a:gd name="connsiteY1" fmla="*/ 190 h 79293"/>
                  <a:gd name="connsiteX2" fmla="*/ 79902 w 79293"/>
                  <a:gd name="connsiteY2" fmla="*/ 79483 h 79293"/>
                  <a:gd name="connsiteX3" fmla="*/ 608 w 79293"/>
                  <a:gd name="connsiteY3" fmla="*/ 79483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08" y="190"/>
                    </a:moveTo>
                    <a:lnTo>
                      <a:pt x="79902" y="190"/>
                    </a:lnTo>
                    <a:lnTo>
                      <a:pt x="79902" y="79483"/>
                    </a:lnTo>
                    <a:lnTo>
                      <a:pt x="608" y="79483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528A3E6-70E3-46AB-8E28-CC4B75ECBA57}"/>
                  </a:ext>
                </a:extLst>
              </p:cNvPr>
              <p:cNvSpPr/>
              <p:nvPr/>
            </p:nvSpPr>
            <p:spPr>
              <a:xfrm rot="-3913202">
                <a:off x="5232976" y="3968364"/>
                <a:ext cx="203592" cy="203592"/>
              </a:xfrm>
              <a:custGeom>
                <a:avLst/>
                <a:gdLst>
                  <a:gd name="connsiteX0" fmla="*/ 647 w 203592"/>
                  <a:gd name="connsiteY0" fmla="*/ 282 h 203592"/>
                  <a:gd name="connsiteX1" fmla="*/ 204239 w 203592"/>
                  <a:gd name="connsiteY1" fmla="*/ 282 h 203592"/>
                  <a:gd name="connsiteX2" fmla="*/ 204239 w 203592"/>
                  <a:gd name="connsiteY2" fmla="*/ 203874 h 203592"/>
                  <a:gd name="connsiteX3" fmla="*/ 647 w 203592"/>
                  <a:gd name="connsiteY3" fmla="*/ 203874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647" y="282"/>
                    </a:moveTo>
                    <a:lnTo>
                      <a:pt x="204239" y="282"/>
                    </a:lnTo>
                    <a:lnTo>
                      <a:pt x="204239" y="203874"/>
                    </a:lnTo>
                    <a:lnTo>
                      <a:pt x="647" y="203874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63BB8D-67A7-4749-90A0-5CF44BC3AB9A}"/>
                  </a:ext>
                </a:extLst>
              </p:cNvPr>
              <p:cNvSpPr/>
              <p:nvPr/>
            </p:nvSpPr>
            <p:spPr>
              <a:xfrm rot="51600">
                <a:off x="1843787" y="6362536"/>
                <a:ext cx="105010" cy="105010"/>
              </a:xfrm>
              <a:custGeom>
                <a:avLst/>
                <a:gdLst>
                  <a:gd name="connsiteX0" fmla="*/ 204 w 105010"/>
                  <a:gd name="connsiteY0" fmla="*/ 583 h 105010"/>
                  <a:gd name="connsiteX1" fmla="*/ 105215 w 105010"/>
                  <a:gd name="connsiteY1" fmla="*/ 583 h 105010"/>
                  <a:gd name="connsiteX2" fmla="*/ 105215 w 105010"/>
                  <a:gd name="connsiteY2" fmla="*/ 105594 h 105010"/>
                  <a:gd name="connsiteX3" fmla="*/ 204 w 105010"/>
                  <a:gd name="connsiteY3" fmla="*/ 105594 h 10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10" h="105010">
                    <a:moveTo>
                      <a:pt x="204" y="583"/>
                    </a:moveTo>
                    <a:lnTo>
                      <a:pt x="105215" y="583"/>
                    </a:lnTo>
                    <a:lnTo>
                      <a:pt x="105215" y="105594"/>
                    </a:lnTo>
                    <a:lnTo>
                      <a:pt x="204" y="105594"/>
                    </a:lnTo>
                    <a:close/>
                  </a:path>
                </a:pathLst>
              </a:custGeom>
              <a:grpFill/>
              <a:ln w="38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580974EF-7060-47AF-AEA5-47F27AA4ECA1}"/>
                  </a:ext>
                </a:extLst>
              </p:cNvPr>
              <p:cNvSpPr/>
              <p:nvPr/>
            </p:nvSpPr>
            <p:spPr>
              <a:xfrm rot="-5400000">
                <a:off x="5404278" y="1984521"/>
                <a:ext cx="45004" cy="45004"/>
              </a:xfrm>
              <a:custGeom>
                <a:avLst/>
                <a:gdLst>
                  <a:gd name="connsiteX0" fmla="*/ 658 w 45004"/>
                  <a:gd name="connsiteY0" fmla="*/ 16 h 45004"/>
                  <a:gd name="connsiteX1" fmla="*/ 45663 w 45004"/>
                  <a:gd name="connsiteY1" fmla="*/ 16 h 45004"/>
                  <a:gd name="connsiteX2" fmla="*/ 45663 w 45004"/>
                  <a:gd name="connsiteY2" fmla="*/ 45021 h 45004"/>
                  <a:gd name="connsiteX3" fmla="*/ 658 w 45004"/>
                  <a:gd name="connsiteY3" fmla="*/ 4502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58" y="16"/>
                    </a:moveTo>
                    <a:lnTo>
                      <a:pt x="45663" y="16"/>
                    </a:lnTo>
                    <a:lnTo>
                      <a:pt x="45663" y="45021"/>
                    </a:lnTo>
                    <a:lnTo>
                      <a:pt x="658" y="4502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D4B9DB0-22B9-4BC7-BE37-B19F61B4D2BC}"/>
                  </a:ext>
                </a:extLst>
              </p:cNvPr>
              <p:cNvSpPr/>
              <p:nvPr/>
            </p:nvSpPr>
            <p:spPr>
              <a:xfrm rot="-3764680">
                <a:off x="5284752" y="4170842"/>
                <a:ext cx="238662" cy="238661"/>
              </a:xfrm>
              <a:custGeom>
                <a:avLst/>
                <a:gdLst>
                  <a:gd name="connsiteX0" fmla="*/ 655 w 238662"/>
                  <a:gd name="connsiteY0" fmla="*/ 310 h 238661"/>
                  <a:gd name="connsiteX1" fmla="*/ 239317 w 238662"/>
                  <a:gd name="connsiteY1" fmla="*/ 310 h 238661"/>
                  <a:gd name="connsiteX2" fmla="*/ 239317 w 238662"/>
                  <a:gd name="connsiteY2" fmla="*/ 238972 h 238661"/>
                  <a:gd name="connsiteX3" fmla="*/ 655 w 238662"/>
                  <a:gd name="connsiteY3" fmla="*/ 238972 h 23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662" h="238661">
                    <a:moveTo>
                      <a:pt x="655" y="310"/>
                    </a:moveTo>
                    <a:lnTo>
                      <a:pt x="239317" y="310"/>
                    </a:lnTo>
                    <a:lnTo>
                      <a:pt x="239317" y="238972"/>
                    </a:lnTo>
                    <a:lnTo>
                      <a:pt x="655" y="238972"/>
                    </a:lnTo>
                    <a:close/>
                  </a:path>
                </a:pathLst>
              </a:custGeom>
              <a:grpFill/>
              <a:ln w="86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F62DBC8-B1E2-46B3-9F83-5B9500CE0244}"/>
                  </a:ext>
                </a:extLst>
              </p:cNvPr>
              <p:cNvSpPr/>
              <p:nvPr/>
            </p:nvSpPr>
            <p:spPr>
              <a:xfrm rot="304801">
                <a:off x="1543160" y="5623789"/>
                <a:ext cx="242167" cy="242167"/>
              </a:xfrm>
              <a:custGeom>
                <a:avLst/>
                <a:gdLst>
                  <a:gd name="connsiteX0" fmla="*/ 174 w 242167"/>
                  <a:gd name="connsiteY0" fmla="*/ 497 h 242167"/>
                  <a:gd name="connsiteX1" fmla="*/ 242341 w 242167"/>
                  <a:gd name="connsiteY1" fmla="*/ 497 h 242167"/>
                  <a:gd name="connsiteX2" fmla="*/ 242341 w 242167"/>
                  <a:gd name="connsiteY2" fmla="*/ 242664 h 242167"/>
                  <a:gd name="connsiteX3" fmla="*/ 174 w 242167"/>
                  <a:gd name="connsiteY3" fmla="*/ 242664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174" y="497"/>
                    </a:moveTo>
                    <a:lnTo>
                      <a:pt x="242341" y="497"/>
                    </a:lnTo>
                    <a:lnTo>
                      <a:pt x="242341" y="242664"/>
                    </a:lnTo>
                    <a:lnTo>
                      <a:pt x="174" y="242664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2C72DEA4-B7E4-4A84-9A52-A0185A3CA115}"/>
                  </a:ext>
                </a:extLst>
              </p:cNvPr>
              <p:cNvSpPr/>
              <p:nvPr/>
            </p:nvSpPr>
            <p:spPr>
              <a:xfrm rot="1215000">
                <a:off x="625765" y="6024610"/>
                <a:ext cx="49290" cy="49290"/>
              </a:xfrm>
              <a:custGeom>
                <a:avLst/>
                <a:gdLst>
                  <a:gd name="connsiteX0" fmla="*/ 44 w 49290"/>
                  <a:gd name="connsiteY0" fmla="*/ 536 h 49290"/>
                  <a:gd name="connsiteX1" fmla="*/ 49334 w 49290"/>
                  <a:gd name="connsiteY1" fmla="*/ 536 h 49290"/>
                  <a:gd name="connsiteX2" fmla="*/ 49334 w 49290"/>
                  <a:gd name="connsiteY2" fmla="*/ 49827 h 49290"/>
                  <a:gd name="connsiteX3" fmla="*/ 44 w 49290"/>
                  <a:gd name="connsiteY3" fmla="*/ 49827 h 4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90" h="49290">
                    <a:moveTo>
                      <a:pt x="44" y="536"/>
                    </a:moveTo>
                    <a:lnTo>
                      <a:pt x="49334" y="536"/>
                    </a:lnTo>
                    <a:lnTo>
                      <a:pt x="49334" y="49827"/>
                    </a:lnTo>
                    <a:lnTo>
                      <a:pt x="44" y="49827"/>
                    </a:lnTo>
                    <a:close/>
                  </a:path>
                </a:pathLst>
              </a:custGeom>
              <a:grpFill/>
              <a:ln w="17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A9C5870-CAE2-45A4-B9CE-D9FD66C02D08}"/>
                  </a:ext>
                </a:extLst>
              </p:cNvPr>
              <p:cNvSpPr/>
              <p:nvPr/>
            </p:nvSpPr>
            <p:spPr>
              <a:xfrm rot="-4147199">
                <a:off x="5452919" y="3776427"/>
                <a:ext cx="227166" cy="227166"/>
              </a:xfrm>
              <a:custGeom>
                <a:avLst/>
                <a:gdLst>
                  <a:gd name="connsiteX0" fmla="*/ 676 w 227166"/>
                  <a:gd name="connsiteY0" fmla="*/ 258 h 227166"/>
                  <a:gd name="connsiteX1" fmla="*/ 227842 w 227166"/>
                  <a:gd name="connsiteY1" fmla="*/ 258 h 227166"/>
                  <a:gd name="connsiteX2" fmla="*/ 227842 w 227166"/>
                  <a:gd name="connsiteY2" fmla="*/ 227425 h 227166"/>
                  <a:gd name="connsiteX3" fmla="*/ 676 w 227166"/>
                  <a:gd name="connsiteY3" fmla="*/ 227425 h 22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166" h="227166">
                    <a:moveTo>
                      <a:pt x="676" y="258"/>
                    </a:moveTo>
                    <a:lnTo>
                      <a:pt x="227842" y="258"/>
                    </a:lnTo>
                    <a:lnTo>
                      <a:pt x="227842" y="227425"/>
                    </a:lnTo>
                    <a:lnTo>
                      <a:pt x="676" y="227425"/>
                    </a:lnTo>
                    <a:close/>
                  </a:path>
                </a:pathLst>
              </a:custGeom>
              <a:grpFill/>
              <a:ln w="82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5BD3175D-CB34-4F14-BF12-4CA2C33CDD0C}"/>
                  </a:ext>
                </a:extLst>
              </p:cNvPr>
              <p:cNvSpPr/>
              <p:nvPr/>
            </p:nvSpPr>
            <p:spPr>
              <a:xfrm rot="-993002">
                <a:off x="2919471" y="5794128"/>
                <a:ext cx="42861" cy="42861"/>
              </a:xfrm>
              <a:custGeom>
                <a:avLst/>
                <a:gdLst>
                  <a:gd name="connsiteX0" fmla="*/ 338 w 42861"/>
                  <a:gd name="connsiteY0" fmla="*/ 506 h 42861"/>
                  <a:gd name="connsiteX1" fmla="*/ 43200 w 42861"/>
                  <a:gd name="connsiteY1" fmla="*/ 506 h 42861"/>
                  <a:gd name="connsiteX2" fmla="*/ 43200 w 42861"/>
                  <a:gd name="connsiteY2" fmla="*/ 43368 h 42861"/>
                  <a:gd name="connsiteX3" fmla="*/ 338 w 42861"/>
                  <a:gd name="connsiteY3" fmla="*/ 43368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1" h="42861">
                    <a:moveTo>
                      <a:pt x="338" y="506"/>
                    </a:moveTo>
                    <a:lnTo>
                      <a:pt x="43200" y="506"/>
                    </a:lnTo>
                    <a:lnTo>
                      <a:pt x="43200" y="43368"/>
                    </a:lnTo>
                    <a:lnTo>
                      <a:pt x="338" y="43368"/>
                    </a:lnTo>
                    <a:close/>
                  </a:path>
                </a:pathLst>
              </a:custGeom>
              <a:grpFill/>
              <a:ln w="15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A580308-0DDD-45C4-861C-CCB89CAC00A2}"/>
                  </a:ext>
                </a:extLst>
              </p:cNvPr>
              <p:cNvSpPr/>
              <p:nvPr/>
            </p:nvSpPr>
            <p:spPr>
              <a:xfrm rot="-3526795">
                <a:off x="5078241" y="4386846"/>
                <a:ext cx="72864" cy="72864"/>
              </a:xfrm>
              <a:custGeom>
                <a:avLst/>
                <a:gdLst>
                  <a:gd name="connsiteX0" fmla="*/ 618 w 72864"/>
                  <a:gd name="connsiteY0" fmla="*/ 327 h 72864"/>
                  <a:gd name="connsiteX1" fmla="*/ 73483 w 72864"/>
                  <a:gd name="connsiteY1" fmla="*/ 327 h 72864"/>
                  <a:gd name="connsiteX2" fmla="*/ 73483 w 72864"/>
                  <a:gd name="connsiteY2" fmla="*/ 73192 h 72864"/>
                  <a:gd name="connsiteX3" fmla="*/ 618 w 72864"/>
                  <a:gd name="connsiteY3" fmla="*/ 73192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618" y="327"/>
                    </a:moveTo>
                    <a:lnTo>
                      <a:pt x="73483" y="327"/>
                    </a:lnTo>
                    <a:lnTo>
                      <a:pt x="73483" y="73192"/>
                    </a:lnTo>
                    <a:lnTo>
                      <a:pt x="618" y="73192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24A6F43D-6C32-45D2-9BA4-E885C2D12CE7}"/>
                  </a:ext>
                </a:extLst>
              </p:cNvPr>
              <p:cNvSpPr/>
              <p:nvPr/>
            </p:nvSpPr>
            <p:spPr>
              <a:xfrm rot="-4764000">
                <a:off x="5724532" y="3180416"/>
                <a:ext cx="102867" cy="102867"/>
              </a:xfrm>
              <a:custGeom>
                <a:avLst/>
                <a:gdLst>
                  <a:gd name="connsiteX0" fmla="*/ 703 w 102867"/>
                  <a:gd name="connsiteY0" fmla="*/ 174 h 102867"/>
                  <a:gd name="connsiteX1" fmla="*/ 103571 w 102867"/>
                  <a:gd name="connsiteY1" fmla="*/ 174 h 102867"/>
                  <a:gd name="connsiteX2" fmla="*/ 103571 w 102867"/>
                  <a:gd name="connsiteY2" fmla="*/ 103041 h 102867"/>
                  <a:gd name="connsiteX3" fmla="*/ 703 w 102867"/>
                  <a:gd name="connsiteY3" fmla="*/ 103041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703" y="174"/>
                    </a:moveTo>
                    <a:lnTo>
                      <a:pt x="103571" y="174"/>
                    </a:lnTo>
                    <a:lnTo>
                      <a:pt x="103571" y="103041"/>
                    </a:lnTo>
                    <a:lnTo>
                      <a:pt x="703" y="103041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93F9FFF-154F-4D1D-944A-F8CF063EEF5A}"/>
                  </a:ext>
                </a:extLst>
              </p:cNvPr>
              <p:cNvSpPr/>
              <p:nvPr/>
            </p:nvSpPr>
            <p:spPr>
              <a:xfrm rot="-2021404">
                <a:off x="3966000" y="5520274"/>
                <a:ext cx="77269" cy="77269"/>
              </a:xfrm>
              <a:custGeom>
                <a:avLst/>
                <a:gdLst>
                  <a:gd name="connsiteX0" fmla="*/ 475 w 77269"/>
                  <a:gd name="connsiteY0" fmla="*/ 473 h 77269"/>
                  <a:gd name="connsiteX1" fmla="*/ 77745 w 77269"/>
                  <a:gd name="connsiteY1" fmla="*/ 473 h 77269"/>
                  <a:gd name="connsiteX2" fmla="*/ 77745 w 77269"/>
                  <a:gd name="connsiteY2" fmla="*/ 77743 h 77269"/>
                  <a:gd name="connsiteX3" fmla="*/ 475 w 77269"/>
                  <a:gd name="connsiteY3" fmla="*/ 77743 h 77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69" h="77269">
                    <a:moveTo>
                      <a:pt x="475" y="473"/>
                    </a:moveTo>
                    <a:lnTo>
                      <a:pt x="77745" y="473"/>
                    </a:lnTo>
                    <a:lnTo>
                      <a:pt x="77745" y="77743"/>
                    </a:lnTo>
                    <a:lnTo>
                      <a:pt x="475" y="77743"/>
                    </a:lnTo>
                    <a:close/>
                  </a:path>
                </a:pathLst>
              </a:custGeom>
              <a:grpFill/>
              <a:ln w="28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9F7F6411-14C2-4A4F-B5D7-536504AABF0A}"/>
                  </a:ext>
                </a:extLst>
              </p:cNvPr>
              <p:cNvSpPr/>
              <p:nvPr/>
            </p:nvSpPr>
            <p:spPr>
              <a:xfrm rot="591948">
                <a:off x="1259166" y="6359998"/>
                <a:ext cx="50030" cy="50030"/>
              </a:xfrm>
              <a:custGeom>
                <a:avLst/>
                <a:gdLst>
                  <a:gd name="connsiteX0" fmla="*/ 125 w 50030"/>
                  <a:gd name="connsiteY0" fmla="*/ 580 h 50030"/>
                  <a:gd name="connsiteX1" fmla="*/ 50156 w 50030"/>
                  <a:gd name="connsiteY1" fmla="*/ 580 h 50030"/>
                  <a:gd name="connsiteX2" fmla="*/ 50156 w 50030"/>
                  <a:gd name="connsiteY2" fmla="*/ 50610 h 50030"/>
                  <a:gd name="connsiteX3" fmla="*/ 125 w 50030"/>
                  <a:gd name="connsiteY3" fmla="*/ 50610 h 5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30" h="50030">
                    <a:moveTo>
                      <a:pt x="125" y="580"/>
                    </a:moveTo>
                    <a:lnTo>
                      <a:pt x="50156" y="580"/>
                    </a:lnTo>
                    <a:lnTo>
                      <a:pt x="50156" y="50610"/>
                    </a:lnTo>
                    <a:lnTo>
                      <a:pt x="125" y="50610"/>
                    </a:lnTo>
                    <a:close/>
                  </a:path>
                </a:pathLst>
              </a:custGeom>
              <a:grpFill/>
              <a:ln w="1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528D5A5B-8E86-486D-B518-D25C21F52EF5}"/>
                  </a:ext>
                </a:extLst>
              </p:cNvPr>
              <p:cNvSpPr/>
              <p:nvPr/>
            </p:nvSpPr>
            <p:spPr>
              <a:xfrm rot="1241401">
                <a:off x="439859" y="6060627"/>
                <a:ext cx="162873" cy="162873"/>
              </a:xfrm>
              <a:custGeom>
                <a:avLst/>
                <a:gdLst>
                  <a:gd name="connsiteX0" fmla="*/ 27 w 162873"/>
                  <a:gd name="connsiteY0" fmla="*/ 548 h 162873"/>
                  <a:gd name="connsiteX1" fmla="*/ 162901 w 162873"/>
                  <a:gd name="connsiteY1" fmla="*/ 548 h 162873"/>
                  <a:gd name="connsiteX2" fmla="*/ 162901 w 162873"/>
                  <a:gd name="connsiteY2" fmla="*/ 163422 h 162873"/>
                  <a:gd name="connsiteX3" fmla="*/ 27 w 162873"/>
                  <a:gd name="connsiteY3" fmla="*/ 1634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27" y="548"/>
                    </a:moveTo>
                    <a:lnTo>
                      <a:pt x="162901" y="548"/>
                    </a:lnTo>
                    <a:lnTo>
                      <a:pt x="162901" y="163422"/>
                    </a:lnTo>
                    <a:lnTo>
                      <a:pt x="27" y="1634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E51790D-7DD5-4422-AB93-D7955A443F70}"/>
                  </a:ext>
                </a:extLst>
              </p:cNvPr>
              <p:cNvSpPr/>
              <p:nvPr/>
            </p:nvSpPr>
            <p:spPr>
              <a:xfrm rot="1172399">
                <a:off x="838475" y="5566765"/>
                <a:ext cx="47147" cy="47147"/>
              </a:xfrm>
              <a:custGeom>
                <a:avLst/>
                <a:gdLst>
                  <a:gd name="connsiteX0" fmla="*/ 71 w 47147"/>
                  <a:gd name="connsiteY0" fmla="*/ 477 h 47147"/>
                  <a:gd name="connsiteX1" fmla="*/ 47219 w 47147"/>
                  <a:gd name="connsiteY1" fmla="*/ 477 h 47147"/>
                  <a:gd name="connsiteX2" fmla="*/ 47219 w 47147"/>
                  <a:gd name="connsiteY2" fmla="*/ 47625 h 47147"/>
                  <a:gd name="connsiteX3" fmla="*/ 71 w 47147"/>
                  <a:gd name="connsiteY3" fmla="*/ 47625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71" y="477"/>
                    </a:moveTo>
                    <a:lnTo>
                      <a:pt x="47219" y="477"/>
                    </a:lnTo>
                    <a:lnTo>
                      <a:pt x="47219" y="47625"/>
                    </a:lnTo>
                    <a:lnTo>
                      <a:pt x="71" y="47625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C3241CC-584F-48F0-B299-E3503D11EB25}"/>
                  </a:ext>
                </a:extLst>
              </p:cNvPr>
              <p:cNvSpPr/>
              <p:nvPr/>
            </p:nvSpPr>
            <p:spPr>
              <a:xfrm rot="-773999">
                <a:off x="2742539" y="6177451"/>
                <a:ext cx="150015" cy="150015"/>
              </a:xfrm>
              <a:custGeom>
                <a:avLst/>
                <a:gdLst>
                  <a:gd name="connsiteX0" fmla="*/ 323 w 150015"/>
                  <a:gd name="connsiteY0" fmla="*/ 562 h 150015"/>
                  <a:gd name="connsiteX1" fmla="*/ 150338 w 150015"/>
                  <a:gd name="connsiteY1" fmla="*/ 562 h 150015"/>
                  <a:gd name="connsiteX2" fmla="*/ 150338 w 150015"/>
                  <a:gd name="connsiteY2" fmla="*/ 150578 h 150015"/>
                  <a:gd name="connsiteX3" fmla="*/ 323 w 150015"/>
                  <a:gd name="connsiteY3" fmla="*/ 150578 h 150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015" h="150015">
                    <a:moveTo>
                      <a:pt x="323" y="562"/>
                    </a:moveTo>
                    <a:lnTo>
                      <a:pt x="150338" y="562"/>
                    </a:lnTo>
                    <a:lnTo>
                      <a:pt x="150338" y="150578"/>
                    </a:lnTo>
                    <a:lnTo>
                      <a:pt x="323" y="150578"/>
                    </a:lnTo>
                    <a:close/>
                  </a:path>
                </a:pathLst>
              </a:custGeom>
              <a:grpFill/>
              <a:ln w="54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AA44DB8-39EC-4743-886D-4137EF78A057}"/>
                  </a:ext>
                </a:extLst>
              </p:cNvPr>
              <p:cNvSpPr/>
              <p:nvPr/>
            </p:nvSpPr>
            <p:spPr>
              <a:xfrm rot="-842175">
                <a:off x="2962544" y="6268009"/>
                <a:ext cx="44180" cy="44180"/>
              </a:xfrm>
              <a:custGeom>
                <a:avLst/>
                <a:gdLst>
                  <a:gd name="connsiteX0" fmla="*/ 344 w 44180"/>
                  <a:gd name="connsiteY0" fmla="*/ 567 h 44180"/>
                  <a:gd name="connsiteX1" fmla="*/ 44525 w 44180"/>
                  <a:gd name="connsiteY1" fmla="*/ 567 h 44180"/>
                  <a:gd name="connsiteX2" fmla="*/ 44525 w 44180"/>
                  <a:gd name="connsiteY2" fmla="*/ 44748 h 44180"/>
                  <a:gd name="connsiteX3" fmla="*/ 344 w 44180"/>
                  <a:gd name="connsiteY3" fmla="*/ 44748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180" h="44180">
                    <a:moveTo>
                      <a:pt x="344" y="567"/>
                    </a:moveTo>
                    <a:lnTo>
                      <a:pt x="44525" y="567"/>
                    </a:lnTo>
                    <a:lnTo>
                      <a:pt x="44525" y="44748"/>
                    </a:lnTo>
                    <a:lnTo>
                      <a:pt x="344" y="44748"/>
                    </a:lnTo>
                    <a:close/>
                  </a:path>
                </a:pathLst>
              </a:custGeom>
              <a:grpFill/>
              <a:ln w="16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1ACCF2C-5851-4817-AD29-FC962D2CE4A7}"/>
                  </a:ext>
                </a:extLst>
              </p:cNvPr>
              <p:cNvSpPr/>
              <p:nvPr/>
            </p:nvSpPr>
            <p:spPr>
              <a:xfrm rot="-1080598">
                <a:off x="3106031" y="6181623"/>
                <a:ext cx="135013" cy="135013"/>
              </a:xfrm>
              <a:custGeom>
                <a:avLst/>
                <a:gdLst>
                  <a:gd name="connsiteX0" fmla="*/ 368 w 135013"/>
                  <a:gd name="connsiteY0" fmla="*/ 562 h 135013"/>
                  <a:gd name="connsiteX1" fmla="*/ 135382 w 135013"/>
                  <a:gd name="connsiteY1" fmla="*/ 562 h 135013"/>
                  <a:gd name="connsiteX2" fmla="*/ 135382 w 135013"/>
                  <a:gd name="connsiteY2" fmla="*/ 135576 h 135013"/>
                  <a:gd name="connsiteX3" fmla="*/ 368 w 135013"/>
                  <a:gd name="connsiteY3" fmla="*/ 135576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368" y="562"/>
                    </a:moveTo>
                    <a:lnTo>
                      <a:pt x="135382" y="562"/>
                    </a:lnTo>
                    <a:lnTo>
                      <a:pt x="135382" y="135576"/>
                    </a:lnTo>
                    <a:lnTo>
                      <a:pt x="368" y="135576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D27A388-6179-4B83-A040-90C51D79BBB6}"/>
                  </a:ext>
                </a:extLst>
              </p:cNvPr>
              <p:cNvSpPr/>
              <p:nvPr/>
            </p:nvSpPr>
            <p:spPr>
              <a:xfrm rot="-2485420">
                <a:off x="4072248" y="4877138"/>
                <a:ext cx="48586" cy="48586"/>
              </a:xfrm>
              <a:custGeom>
                <a:avLst/>
                <a:gdLst>
                  <a:gd name="connsiteX0" fmla="*/ 487 w 48586"/>
                  <a:gd name="connsiteY0" fmla="*/ 389 h 48586"/>
                  <a:gd name="connsiteX1" fmla="*/ 49074 w 48586"/>
                  <a:gd name="connsiteY1" fmla="*/ 389 h 48586"/>
                  <a:gd name="connsiteX2" fmla="*/ 49074 w 48586"/>
                  <a:gd name="connsiteY2" fmla="*/ 48975 h 48586"/>
                  <a:gd name="connsiteX3" fmla="*/ 487 w 48586"/>
                  <a:gd name="connsiteY3" fmla="*/ 48975 h 4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86" h="48586">
                    <a:moveTo>
                      <a:pt x="487" y="389"/>
                    </a:moveTo>
                    <a:lnTo>
                      <a:pt x="49074" y="389"/>
                    </a:lnTo>
                    <a:lnTo>
                      <a:pt x="49074" y="48975"/>
                    </a:lnTo>
                    <a:lnTo>
                      <a:pt x="487" y="48975"/>
                    </a:lnTo>
                    <a:close/>
                  </a:path>
                </a:pathLst>
              </a:custGeom>
              <a:grpFill/>
              <a:ln w="17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2F17809-E909-47F4-B300-953B9DD55B85}"/>
                  </a:ext>
                </a:extLst>
              </p:cNvPr>
              <p:cNvSpPr/>
              <p:nvPr/>
            </p:nvSpPr>
            <p:spPr>
              <a:xfrm rot="-1489802">
                <a:off x="3367293" y="5626803"/>
                <a:ext cx="109296" cy="109296"/>
              </a:xfrm>
              <a:custGeom>
                <a:avLst/>
                <a:gdLst>
                  <a:gd name="connsiteX0" fmla="*/ 400 w 109296"/>
                  <a:gd name="connsiteY0" fmla="*/ 489 h 109296"/>
                  <a:gd name="connsiteX1" fmla="*/ 109697 w 109296"/>
                  <a:gd name="connsiteY1" fmla="*/ 489 h 109296"/>
                  <a:gd name="connsiteX2" fmla="*/ 109697 w 109296"/>
                  <a:gd name="connsiteY2" fmla="*/ 109786 h 109296"/>
                  <a:gd name="connsiteX3" fmla="*/ 400 w 109296"/>
                  <a:gd name="connsiteY3" fmla="*/ 109786 h 109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296" h="109296">
                    <a:moveTo>
                      <a:pt x="400" y="489"/>
                    </a:moveTo>
                    <a:lnTo>
                      <a:pt x="109697" y="489"/>
                    </a:lnTo>
                    <a:lnTo>
                      <a:pt x="109697" y="109786"/>
                    </a:lnTo>
                    <a:lnTo>
                      <a:pt x="400" y="109786"/>
                    </a:lnTo>
                    <a:close/>
                  </a:path>
                </a:pathLst>
              </a:custGeom>
              <a:grpFill/>
              <a:ln w="3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FCAA791-1612-4F6C-9C2D-81997D70C7CE}"/>
                  </a:ext>
                </a:extLst>
              </p:cNvPr>
              <p:cNvSpPr/>
              <p:nvPr/>
            </p:nvSpPr>
            <p:spPr>
              <a:xfrm rot="-487806">
                <a:off x="2536957" y="6040890"/>
                <a:ext cx="45461" cy="45461"/>
              </a:xfrm>
              <a:custGeom>
                <a:avLst/>
                <a:gdLst>
                  <a:gd name="connsiteX0" fmla="*/ 289 w 45461"/>
                  <a:gd name="connsiteY0" fmla="*/ 538 h 45461"/>
                  <a:gd name="connsiteX1" fmla="*/ 45751 w 45461"/>
                  <a:gd name="connsiteY1" fmla="*/ 538 h 45461"/>
                  <a:gd name="connsiteX2" fmla="*/ 45751 w 45461"/>
                  <a:gd name="connsiteY2" fmla="*/ 46000 h 45461"/>
                  <a:gd name="connsiteX3" fmla="*/ 289 w 45461"/>
                  <a:gd name="connsiteY3" fmla="*/ 46000 h 45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461" h="45461">
                    <a:moveTo>
                      <a:pt x="289" y="538"/>
                    </a:moveTo>
                    <a:lnTo>
                      <a:pt x="45751" y="538"/>
                    </a:lnTo>
                    <a:lnTo>
                      <a:pt x="45751" y="46000"/>
                    </a:lnTo>
                    <a:lnTo>
                      <a:pt x="289" y="46000"/>
                    </a:lnTo>
                    <a:close/>
                  </a:path>
                </a:pathLst>
              </a:custGeom>
              <a:grpFill/>
              <a:ln w="1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7395CA59-D159-4A5E-8C22-811C32B22FF2}"/>
                  </a:ext>
                </a:extLst>
              </p:cNvPr>
              <p:cNvSpPr/>
              <p:nvPr/>
            </p:nvSpPr>
            <p:spPr>
              <a:xfrm rot="-39000">
                <a:off x="1902345" y="5693847"/>
                <a:ext cx="184304" cy="184304"/>
              </a:xfrm>
              <a:custGeom>
                <a:avLst/>
                <a:gdLst>
                  <a:gd name="connsiteX0" fmla="*/ 217 w 184304"/>
                  <a:gd name="connsiteY0" fmla="*/ 502 h 184304"/>
                  <a:gd name="connsiteX1" fmla="*/ 184521 w 184304"/>
                  <a:gd name="connsiteY1" fmla="*/ 502 h 184304"/>
                  <a:gd name="connsiteX2" fmla="*/ 184521 w 184304"/>
                  <a:gd name="connsiteY2" fmla="*/ 184807 h 184304"/>
                  <a:gd name="connsiteX3" fmla="*/ 217 w 184304"/>
                  <a:gd name="connsiteY3" fmla="*/ 184807 h 18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304" h="184304">
                    <a:moveTo>
                      <a:pt x="217" y="502"/>
                    </a:moveTo>
                    <a:lnTo>
                      <a:pt x="184521" y="502"/>
                    </a:lnTo>
                    <a:lnTo>
                      <a:pt x="184521" y="184807"/>
                    </a:lnTo>
                    <a:lnTo>
                      <a:pt x="217" y="184807"/>
                    </a:lnTo>
                    <a:close/>
                  </a:path>
                </a:pathLst>
              </a:custGeom>
              <a:grpFill/>
              <a:ln w="6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D152936-723B-4D51-B4EC-B24DC792EA55}"/>
                  </a:ext>
                </a:extLst>
              </p:cNvPr>
              <p:cNvSpPr/>
              <p:nvPr/>
            </p:nvSpPr>
            <p:spPr>
              <a:xfrm rot="-2833799">
                <a:off x="4705355" y="5051622"/>
                <a:ext cx="68578" cy="68578"/>
              </a:xfrm>
              <a:custGeom>
                <a:avLst/>
                <a:gdLst>
                  <a:gd name="connsiteX0" fmla="*/ 570 w 68578"/>
                  <a:gd name="connsiteY0" fmla="*/ 412 h 68578"/>
                  <a:gd name="connsiteX1" fmla="*/ 69148 w 68578"/>
                  <a:gd name="connsiteY1" fmla="*/ 412 h 68578"/>
                  <a:gd name="connsiteX2" fmla="*/ 69148 w 68578"/>
                  <a:gd name="connsiteY2" fmla="*/ 68991 h 68578"/>
                  <a:gd name="connsiteX3" fmla="*/ 570 w 68578"/>
                  <a:gd name="connsiteY3" fmla="*/ 68991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70" y="412"/>
                    </a:moveTo>
                    <a:lnTo>
                      <a:pt x="69148" y="412"/>
                    </a:lnTo>
                    <a:lnTo>
                      <a:pt x="69148" y="68991"/>
                    </a:lnTo>
                    <a:lnTo>
                      <a:pt x="570" y="68991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B2593E31-9B69-4FC8-BCCD-5703CE1FD03E}"/>
                  </a:ext>
                </a:extLst>
              </p:cNvPr>
              <p:cNvSpPr/>
              <p:nvPr/>
            </p:nvSpPr>
            <p:spPr>
              <a:xfrm rot="1141536">
                <a:off x="820132" y="5806466"/>
                <a:ext cx="65740" cy="65740"/>
              </a:xfrm>
              <a:custGeom>
                <a:avLst/>
                <a:gdLst>
                  <a:gd name="connsiteX0" fmla="*/ 70 w 65740"/>
                  <a:gd name="connsiteY0" fmla="*/ 509 h 65740"/>
                  <a:gd name="connsiteX1" fmla="*/ 65810 w 65740"/>
                  <a:gd name="connsiteY1" fmla="*/ 509 h 65740"/>
                  <a:gd name="connsiteX2" fmla="*/ 65810 w 65740"/>
                  <a:gd name="connsiteY2" fmla="*/ 66250 h 65740"/>
                  <a:gd name="connsiteX3" fmla="*/ 70 w 65740"/>
                  <a:gd name="connsiteY3" fmla="*/ 66250 h 6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0" h="65740">
                    <a:moveTo>
                      <a:pt x="70" y="509"/>
                    </a:moveTo>
                    <a:lnTo>
                      <a:pt x="65810" y="509"/>
                    </a:lnTo>
                    <a:lnTo>
                      <a:pt x="65810" y="66250"/>
                    </a:lnTo>
                    <a:lnTo>
                      <a:pt x="70" y="66250"/>
                    </a:lnTo>
                    <a:close/>
                  </a:path>
                </a:pathLst>
              </a:custGeom>
              <a:grpFill/>
              <a:ln w="23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DDCF54-FB64-428A-A063-596F5A2A4F96}"/>
                  </a:ext>
                </a:extLst>
              </p:cNvPr>
              <p:cNvSpPr/>
              <p:nvPr/>
            </p:nvSpPr>
            <p:spPr>
              <a:xfrm rot="-2132261">
                <a:off x="3853403" y="5194209"/>
                <a:ext cx="221225" cy="221225"/>
              </a:xfrm>
              <a:custGeom>
                <a:avLst/>
                <a:gdLst>
                  <a:gd name="connsiteX0" fmla="*/ 470 w 221225"/>
                  <a:gd name="connsiteY0" fmla="*/ 441 h 221225"/>
                  <a:gd name="connsiteX1" fmla="*/ 221695 w 221225"/>
                  <a:gd name="connsiteY1" fmla="*/ 441 h 221225"/>
                  <a:gd name="connsiteX2" fmla="*/ 221695 w 221225"/>
                  <a:gd name="connsiteY2" fmla="*/ 221666 h 221225"/>
                  <a:gd name="connsiteX3" fmla="*/ 470 w 221225"/>
                  <a:gd name="connsiteY3" fmla="*/ 221666 h 2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225" h="221225">
                    <a:moveTo>
                      <a:pt x="470" y="441"/>
                    </a:moveTo>
                    <a:lnTo>
                      <a:pt x="221695" y="441"/>
                    </a:lnTo>
                    <a:lnTo>
                      <a:pt x="221695" y="221666"/>
                    </a:lnTo>
                    <a:lnTo>
                      <a:pt x="470" y="221666"/>
                    </a:lnTo>
                    <a:close/>
                  </a:path>
                </a:pathLst>
              </a:custGeom>
              <a:grpFill/>
              <a:ln w="80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C5A5AB2-5574-4759-8C8D-8997C8B29BCB}"/>
                  </a:ext>
                </a:extLst>
              </p:cNvPr>
              <p:cNvSpPr/>
              <p:nvPr/>
            </p:nvSpPr>
            <p:spPr>
              <a:xfrm rot="-5400000">
                <a:off x="5467062" y="2165782"/>
                <a:ext cx="186447" cy="186447"/>
              </a:xfrm>
              <a:custGeom>
                <a:avLst/>
                <a:gdLst>
                  <a:gd name="connsiteX0" fmla="*/ 676 w 186447"/>
                  <a:gd name="connsiteY0" fmla="*/ 49 h 186447"/>
                  <a:gd name="connsiteX1" fmla="*/ 187123 w 186447"/>
                  <a:gd name="connsiteY1" fmla="*/ 49 h 186447"/>
                  <a:gd name="connsiteX2" fmla="*/ 187123 w 186447"/>
                  <a:gd name="connsiteY2" fmla="*/ 186496 h 186447"/>
                  <a:gd name="connsiteX3" fmla="*/ 676 w 186447"/>
                  <a:gd name="connsiteY3" fmla="*/ 186496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676" y="49"/>
                    </a:moveTo>
                    <a:lnTo>
                      <a:pt x="187123" y="49"/>
                    </a:lnTo>
                    <a:lnTo>
                      <a:pt x="187123" y="186496"/>
                    </a:lnTo>
                    <a:lnTo>
                      <a:pt x="676" y="186496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3C90A53-1F49-4FE9-AF30-54A7840F19EF}"/>
                  </a:ext>
                </a:extLst>
              </p:cNvPr>
              <p:cNvSpPr/>
              <p:nvPr/>
            </p:nvSpPr>
            <p:spPr>
              <a:xfrm rot="-5400000">
                <a:off x="5478640" y="1877286"/>
                <a:ext cx="126441" cy="126441"/>
              </a:xfrm>
              <a:custGeom>
                <a:avLst/>
                <a:gdLst>
                  <a:gd name="connsiteX0" fmla="*/ 673 w 126441"/>
                  <a:gd name="connsiteY0" fmla="*/ 8 h 126441"/>
                  <a:gd name="connsiteX1" fmla="*/ 127115 w 126441"/>
                  <a:gd name="connsiteY1" fmla="*/ 8 h 126441"/>
                  <a:gd name="connsiteX2" fmla="*/ 127115 w 126441"/>
                  <a:gd name="connsiteY2" fmla="*/ 126449 h 126441"/>
                  <a:gd name="connsiteX3" fmla="*/ 673 w 126441"/>
                  <a:gd name="connsiteY3" fmla="*/ 126449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73" y="8"/>
                    </a:moveTo>
                    <a:lnTo>
                      <a:pt x="127115" y="8"/>
                    </a:lnTo>
                    <a:lnTo>
                      <a:pt x="127115" y="126449"/>
                    </a:lnTo>
                    <a:lnTo>
                      <a:pt x="673" y="126449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DBF203D-3BD1-47A7-8052-C5CE3E9C48BA}"/>
                  </a:ext>
                </a:extLst>
              </p:cNvPr>
              <p:cNvSpPr/>
              <p:nvPr/>
            </p:nvSpPr>
            <p:spPr>
              <a:xfrm rot="1241402">
                <a:off x="462653" y="5778515"/>
                <a:ext cx="237881" cy="237881"/>
              </a:xfrm>
              <a:custGeom>
                <a:avLst/>
                <a:gdLst>
                  <a:gd name="connsiteX0" fmla="*/ 35 w 237881"/>
                  <a:gd name="connsiteY0" fmla="*/ 517 h 237881"/>
                  <a:gd name="connsiteX1" fmla="*/ 237916 w 237881"/>
                  <a:gd name="connsiteY1" fmla="*/ 517 h 237881"/>
                  <a:gd name="connsiteX2" fmla="*/ 237916 w 237881"/>
                  <a:gd name="connsiteY2" fmla="*/ 238398 h 237881"/>
                  <a:gd name="connsiteX3" fmla="*/ 35 w 237881"/>
                  <a:gd name="connsiteY3" fmla="*/ 238398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35" y="517"/>
                    </a:moveTo>
                    <a:lnTo>
                      <a:pt x="237916" y="517"/>
                    </a:lnTo>
                    <a:lnTo>
                      <a:pt x="237916" y="238398"/>
                    </a:lnTo>
                    <a:lnTo>
                      <a:pt x="35" y="238398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C43C18-88DF-4E5F-96CE-83D8FB71C58B}"/>
                  </a:ext>
                </a:extLst>
              </p:cNvPr>
              <p:cNvSpPr/>
              <p:nvPr/>
            </p:nvSpPr>
            <p:spPr>
              <a:xfrm rot="-2810997">
                <a:off x="4567423" y="4954580"/>
                <a:ext cx="135013" cy="135013"/>
              </a:xfrm>
              <a:custGeom>
                <a:avLst/>
                <a:gdLst>
                  <a:gd name="connsiteX0" fmla="*/ 556 w 135013"/>
                  <a:gd name="connsiteY0" fmla="*/ 404 h 135013"/>
                  <a:gd name="connsiteX1" fmla="*/ 135570 w 135013"/>
                  <a:gd name="connsiteY1" fmla="*/ 404 h 135013"/>
                  <a:gd name="connsiteX2" fmla="*/ 135570 w 135013"/>
                  <a:gd name="connsiteY2" fmla="*/ 135418 h 135013"/>
                  <a:gd name="connsiteX3" fmla="*/ 556 w 135013"/>
                  <a:gd name="connsiteY3" fmla="*/ 135418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556" y="404"/>
                    </a:moveTo>
                    <a:lnTo>
                      <a:pt x="135570" y="404"/>
                    </a:lnTo>
                    <a:lnTo>
                      <a:pt x="135570" y="135418"/>
                    </a:lnTo>
                    <a:lnTo>
                      <a:pt x="556" y="135418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AB6B043-A260-4C38-8DB3-2CDA4BE9D444}"/>
                  </a:ext>
                </a:extLst>
              </p:cNvPr>
              <p:cNvSpPr/>
              <p:nvPr/>
            </p:nvSpPr>
            <p:spPr>
              <a:xfrm rot="-3823798">
                <a:off x="5068296" y="4026678"/>
                <a:ext cx="79293" cy="79293"/>
              </a:xfrm>
              <a:custGeom>
                <a:avLst/>
                <a:gdLst>
                  <a:gd name="connsiteX0" fmla="*/ 617 w 79293"/>
                  <a:gd name="connsiteY0" fmla="*/ 281 h 79293"/>
                  <a:gd name="connsiteX1" fmla="*/ 79911 w 79293"/>
                  <a:gd name="connsiteY1" fmla="*/ 281 h 79293"/>
                  <a:gd name="connsiteX2" fmla="*/ 79911 w 79293"/>
                  <a:gd name="connsiteY2" fmla="*/ 79575 h 79293"/>
                  <a:gd name="connsiteX3" fmla="*/ 617 w 79293"/>
                  <a:gd name="connsiteY3" fmla="*/ 79575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17" y="281"/>
                    </a:moveTo>
                    <a:lnTo>
                      <a:pt x="79911" y="281"/>
                    </a:lnTo>
                    <a:lnTo>
                      <a:pt x="79911" y="79575"/>
                    </a:lnTo>
                    <a:lnTo>
                      <a:pt x="617" y="79575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0D509D8D-7745-4548-9A52-942113F85F46}"/>
                  </a:ext>
                </a:extLst>
              </p:cNvPr>
              <p:cNvSpPr/>
              <p:nvPr/>
            </p:nvSpPr>
            <p:spPr>
              <a:xfrm rot="-3806097">
                <a:off x="4778843" y="3875061"/>
                <a:ext cx="215642" cy="215642"/>
              </a:xfrm>
              <a:custGeom>
                <a:avLst/>
                <a:gdLst>
                  <a:gd name="connsiteX0" fmla="*/ 589 w 215642"/>
                  <a:gd name="connsiteY0" fmla="*/ 270 h 215642"/>
                  <a:gd name="connsiteX1" fmla="*/ 216232 w 215642"/>
                  <a:gd name="connsiteY1" fmla="*/ 270 h 215642"/>
                  <a:gd name="connsiteX2" fmla="*/ 216232 w 215642"/>
                  <a:gd name="connsiteY2" fmla="*/ 215913 h 215642"/>
                  <a:gd name="connsiteX3" fmla="*/ 589 w 215642"/>
                  <a:gd name="connsiteY3" fmla="*/ 215913 h 21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642" h="215642">
                    <a:moveTo>
                      <a:pt x="589" y="270"/>
                    </a:moveTo>
                    <a:lnTo>
                      <a:pt x="216232" y="270"/>
                    </a:lnTo>
                    <a:lnTo>
                      <a:pt x="216232" y="215913"/>
                    </a:lnTo>
                    <a:lnTo>
                      <a:pt x="589" y="215913"/>
                    </a:lnTo>
                    <a:close/>
                  </a:path>
                </a:pathLst>
              </a:custGeom>
              <a:grpFill/>
              <a:ln w="78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41ACFDB1-3412-4D07-B5EC-47BB0A8BC384}"/>
                  </a:ext>
                </a:extLst>
              </p:cNvPr>
              <p:cNvSpPr/>
              <p:nvPr/>
            </p:nvSpPr>
            <p:spPr>
              <a:xfrm rot="-4653000">
                <a:off x="5262923" y="3169303"/>
                <a:ext cx="168990" cy="168990"/>
              </a:xfrm>
              <a:custGeom>
                <a:avLst/>
                <a:gdLst>
                  <a:gd name="connsiteX0" fmla="*/ 648 w 168990"/>
                  <a:gd name="connsiteY0" fmla="*/ 177 h 168990"/>
                  <a:gd name="connsiteX1" fmla="*/ 169639 w 168990"/>
                  <a:gd name="connsiteY1" fmla="*/ 177 h 168990"/>
                  <a:gd name="connsiteX2" fmla="*/ 169639 w 168990"/>
                  <a:gd name="connsiteY2" fmla="*/ 169167 h 168990"/>
                  <a:gd name="connsiteX3" fmla="*/ 648 w 168990"/>
                  <a:gd name="connsiteY3" fmla="*/ 169167 h 168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990" h="168990">
                    <a:moveTo>
                      <a:pt x="648" y="177"/>
                    </a:moveTo>
                    <a:lnTo>
                      <a:pt x="169639" y="177"/>
                    </a:lnTo>
                    <a:lnTo>
                      <a:pt x="169639" y="169167"/>
                    </a:lnTo>
                    <a:lnTo>
                      <a:pt x="648" y="169167"/>
                    </a:lnTo>
                    <a:close/>
                  </a:path>
                </a:pathLst>
              </a:custGeom>
              <a:grpFill/>
              <a:ln w="61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B013677-D35B-4098-B193-5626739930A8}"/>
                  </a:ext>
                </a:extLst>
              </p:cNvPr>
              <p:cNvSpPr/>
              <p:nvPr/>
            </p:nvSpPr>
            <p:spPr>
              <a:xfrm rot="-2113056">
                <a:off x="3847864" y="5148873"/>
                <a:ext cx="44594" cy="44594"/>
              </a:xfrm>
              <a:custGeom>
                <a:avLst/>
                <a:gdLst>
                  <a:gd name="connsiteX0" fmla="*/ 458 w 44594"/>
                  <a:gd name="connsiteY0" fmla="*/ 423 h 44594"/>
                  <a:gd name="connsiteX1" fmla="*/ 45053 w 44594"/>
                  <a:gd name="connsiteY1" fmla="*/ 423 h 44594"/>
                  <a:gd name="connsiteX2" fmla="*/ 45053 w 44594"/>
                  <a:gd name="connsiteY2" fmla="*/ 45018 h 44594"/>
                  <a:gd name="connsiteX3" fmla="*/ 458 w 44594"/>
                  <a:gd name="connsiteY3" fmla="*/ 45018 h 4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4" h="44594">
                    <a:moveTo>
                      <a:pt x="458" y="423"/>
                    </a:moveTo>
                    <a:lnTo>
                      <a:pt x="45053" y="423"/>
                    </a:lnTo>
                    <a:lnTo>
                      <a:pt x="45053" y="45018"/>
                    </a:lnTo>
                    <a:lnTo>
                      <a:pt x="458" y="45018"/>
                    </a:lnTo>
                    <a:close/>
                  </a:path>
                </a:pathLst>
              </a:custGeom>
              <a:grpFill/>
              <a:ln w="16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B5871232-3033-4867-B2AE-A96988AD1180}"/>
                  </a:ext>
                </a:extLst>
              </p:cNvPr>
              <p:cNvSpPr/>
              <p:nvPr/>
            </p:nvSpPr>
            <p:spPr>
              <a:xfrm rot="-3011666">
                <a:off x="4898655" y="4959005"/>
                <a:ext cx="50213" cy="50213"/>
              </a:xfrm>
              <a:custGeom>
                <a:avLst/>
                <a:gdLst>
                  <a:gd name="connsiteX0" fmla="*/ 594 w 50213"/>
                  <a:gd name="connsiteY0" fmla="*/ 399 h 50213"/>
                  <a:gd name="connsiteX1" fmla="*/ 50808 w 50213"/>
                  <a:gd name="connsiteY1" fmla="*/ 399 h 50213"/>
                  <a:gd name="connsiteX2" fmla="*/ 50808 w 50213"/>
                  <a:gd name="connsiteY2" fmla="*/ 50613 h 50213"/>
                  <a:gd name="connsiteX3" fmla="*/ 594 w 50213"/>
                  <a:gd name="connsiteY3" fmla="*/ 50613 h 5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13" h="50213">
                    <a:moveTo>
                      <a:pt x="594" y="399"/>
                    </a:moveTo>
                    <a:lnTo>
                      <a:pt x="50808" y="399"/>
                    </a:lnTo>
                    <a:lnTo>
                      <a:pt x="50808" y="50613"/>
                    </a:lnTo>
                    <a:lnTo>
                      <a:pt x="594" y="50613"/>
                    </a:lnTo>
                    <a:close/>
                  </a:path>
                </a:pathLst>
              </a:custGeom>
              <a:grpFill/>
              <a:ln w="18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E68BB38A-1128-4550-8A02-DA2FD48571EC}"/>
                  </a:ext>
                </a:extLst>
              </p:cNvPr>
              <p:cNvSpPr/>
              <p:nvPr/>
            </p:nvSpPr>
            <p:spPr>
              <a:xfrm rot="137400">
                <a:off x="1761780" y="5699508"/>
                <a:ext cx="124298" cy="124298"/>
              </a:xfrm>
              <a:custGeom>
                <a:avLst/>
                <a:gdLst>
                  <a:gd name="connsiteX0" fmla="*/ 195 w 124298"/>
                  <a:gd name="connsiteY0" fmla="*/ 499 h 124298"/>
                  <a:gd name="connsiteX1" fmla="*/ 124493 w 124298"/>
                  <a:gd name="connsiteY1" fmla="*/ 499 h 124298"/>
                  <a:gd name="connsiteX2" fmla="*/ 124493 w 124298"/>
                  <a:gd name="connsiteY2" fmla="*/ 124798 h 124298"/>
                  <a:gd name="connsiteX3" fmla="*/ 195 w 124298"/>
                  <a:gd name="connsiteY3" fmla="*/ 12479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195" y="499"/>
                    </a:moveTo>
                    <a:lnTo>
                      <a:pt x="124493" y="499"/>
                    </a:lnTo>
                    <a:lnTo>
                      <a:pt x="124493" y="124798"/>
                    </a:lnTo>
                    <a:lnTo>
                      <a:pt x="195" y="12479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586B33F2-8B90-4986-A372-2BED1F10B388}"/>
                  </a:ext>
                </a:extLst>
              </p:cNvPr>
              <p:cNvSpPr/>
              <p:nvPr/>
            </p:nvSpPr>
            <p:spPr>
              <a:xfrm rot="-3241799">
                <a:off x="4484585" y="4310514"/>
                <a:ext cx="242167" cy="242167"/>
              </a:xfrm>
              <a:custGeom>
                <a:avLst/>
                <a:gdLst>
                  <a:gd name="connsiteX0" fmla="*/ 553 w 242167"/>
                  <a:gd name="connsiteY0" fmla="*/ 328 h 242167"/>
                  <a:gd name="connsiteX1" fmla="*/ 242720 w 242167"/>
                  <a:gd name="connsiteY1" fmla="*/ 328 h 242167"/>
                  <a:gd name="connsiteX2" fmla="*/ 242720 w 242167"/>
                  <a:gd name="connsiteY2" fmla="*/ 242496 h 242167"/>
                  <a:gd name="connsiteX3" fmla="*/ 553 w 242167"/>
                  <a:gd name="connsiteY3" fmla="*/ 242496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553" y="328"/>
                    </a:moveTo>
                    <a:lnTo>
                      <a:pt x="242720" y="328"/>
                    </a:lnTo>
                    <a:lnTo>
                      <a:pt x="242720" y="242496"/>
                    </a:lnTo>
                    <a:lnTo>
                      <a:pt x="553" y="242496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DECE8F-A58D-472F-B448-F86B42044569}"/>
                  </a:ext>
                </a:extLst>
              </p:cNvPr>
              <p:cNvSpPr/>
              <p:nvPr/>
            </p:nvSpPr>
            <p:spPr>
              <a:xfrm rot="1241403">
                <a:off x="545013" y="5727726"/>
                <a:ext cx="66435" cy="66435"/>
              </a:xfrm>
              <a:custGeom>
                <a:avLst/>
                <a:gdLst>
                  <a:gd name="connsiteX0" fmla="*/ 34 w 66435"/>
                  <a:gd name="connsiteY0" fmla="*/ 499 h 66435"/>
                  <a:gd name="connsiteX1" fmla="*/ 66470 w 66435"/>
                  <a:gd name="connsiteY1" fmla="*/ 499 h 66435"/>
                  <a:gd name="connsiteX2" fmla="*/ 66470 w 66435"/>
                  <a:gd name="connsiteY2" fmla="*/ 66935 h 66435"/>
                  <a:gd name="connsiteX3" fmla="*/ 34 w 66435"/>
                  <a:gd name="connsiteY3" fmla="*/ 66935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34" y="499"/>
                    </a:moveTo>
                    <a:lnTo>
                      <a:pt x="66470" y="499"/>
                    </a:lnTo>
                    <a:lnTo>
                      <a:pt x="66470" y="66935"/>
                    </a:lnTo>
                    <a:lnTo>
                      <a:pt x="34" y="66935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FA74FE1-DBCA-4558-9283-C9FB061B9787}"/>
                  </a:ext>
                </a:extLst>
              </p:cNvPr>
              <p:cNvSpPr/>
              <p:nvPr/>
            </p:nvSpPr>
            <p:spPr>
              <a:xfrm rot="-2621287">
                <a:off x="4317570" y="4985124"/>
                <a:ext cx="198567" cy="198567"/>
              </a:xfrm>
              <a:custGeom>
                <a:avLst/>
                <a:gdLst>
                  <a:gd name="connsiteX0" fmla="*/ 528 w 198567"/>
                  <a:gd name="connsiteY0" fmla="*/ 412 h 198567"/>
                  <a:gd name="connsiteX1" fmla="*/ 199096 w 198567"/>
                  <a:gd name="connsiteY1" fmla="*/ 412 h 198567"/>
                  <a:gd name="connsiteX2" fmla="*/ 199096 w 198567"/>
                  <a:gd name="connsiteY2" fmla="*/ 198979 h 198567"/>
                  <a:gd name="connsiteX3" fmla="*/ 528 w 198567"/>
                  <a:gd name="connsiteY3" fmla="*/ 198979 h 19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7" h="198567">
                    <a:moveTo>
                      <a:pt x="528" y="412"/>
                    </a:moveTo>
                    <a:lnTo>
                      <a:pt x="199096" y="412"/>
                    </a:lnTo>
                    <a:lnTo>
                      <a:pt x="199096" y="198979"/>
                    </a:lnTo>
                    <a:lnTo>
                      <a:pt x="528" y="198979"/>
                    </a:lnTo>
                    <a:close/>
                  </a:path>
                </a:pathLst>
              </a:custGeom>
              <a:grpFill/>
              <a:ln w="71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21B9A148-5E85-4D31-91E4-F22FD98B138F}"/>
                  </a:ext>
                </a:extLst>
              </p:cNvPr>
              <p:cNvSpPr/>
              <p:nvPr/>
            </p:nvSpPr>
            <p:spPr>
              <a:xfrm rot="-34200">
                <a:off x="1914533" y="6170887"/>
                <a:ext cx="160730" cy="160730"/>
              </a:xfrm>
              <a:custGeom>
                <a:avLst/>
                <a:gdLst>
                  <a:gd name="connsiteX0" fmla="*/ 217 w 160730"/>
                  <a:gd name="connsiteY0" fmla="*/ 562 h 160730"/>
                  <a:gd name="connsiteX1" fmla="*/ 160947 w 160730"/>
                  <a:gd name="connsiteY1" fmla="*/ 562 h 160730"/>
                  <a:gd name="connsiteX2" fmla="*/ 160947 w 160730"/>
                  <a:gd name="connsiteY2" fmla="*/ 161293 h 160730"/>
                  <a:gd name="connsiteX3" fmla="*/ 217 w 160730"/>
                  <a:gd name="connsiteY3" fmla="*/ 161293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17" y="562"/>
                    </a:moveTo>
                    <a:lnTo>
                      <a:pt x="160947" y="562"/>
                    </a:lnTo>
                    <a:lnTo>
                      <a:pt x="160947" y="161293"/>
                    </a:lnTo>
                    <a:lnTo>
                      <a:pt x="217" y="161293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FA3C03D-B195-4DF3-A69F-5E9AC39D8E4C}"/>
                  </a:ext>
                </a:extLst>
              </p:cNvPr>
              <p:cNvSpPr/>
              <p:nvPr/>
            </p:nvSpPr>
            <p:spPr>
              <a:xfrm rot="-5032200">
                <a:off x="5769309" y="2883936"/>
                <a:ext cx="96438" cy="96438"/>
              </a:xfrm>
              <a:custGeom>
                <a:avLst/>
                <a:gdLst>
                  <a:gd name="connsiteX0" fmla="*/ 709 w 96438"/>
                  <a:gd name="connsiteY0" fmla="*/ 135 h 96438"/>
                  <a:gd name="connsiteX1" fmla="*/ 97147 w 96438"/>
                  <a:gd name="connsiteY1" fmla="*/ 135 h 96438"/>
                  <a:gd name="connsiteX2" fmla="*/ 97147 w 96438"/>
                  <a:gd name="connsiteY2" fmla="*/ 96574 h 96438"/>
                  <a:gd name="connsiteX3" fmla="*/ 709 w 96438"/>
                  <a:gd name="connsiteY3" fmla="*/ 96574 h 9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438" h="96438">
                    <a:moveTo>
                      <a:pt x="709" y="135"/>
                    </a:moveTo>
                    <a:lnTo>
                      <a:pt x="97147" y="135"/>
                    </a:lnTo>
                    <a:lnTo>
                      <a:pt x="97147" y="96574"/>
                    </a:lnTo>
                    <a:lnTo>
                      <a:pt x="709" y="96574"/>
                    </a:lnTo>
                    <a:close/>
                  </a:path>
                </a:pathLst>
              </a:custGeom>
              <a:grpFill/>
              <a:ln w="3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6EF5DF09-2E0C-4B5F-A0D7-B366FAB8480B}"/>
                  </a:ext>
                </a:extLst>
              </p:cNvPr>
              <p:cNvSpPr/>
              <p:nvPr/>
            </p:nvSpPr>
            <p:spPr>
              <a:xfrm rot="-4091916">
                <a:off x="5027808" y="3788003"/>
                <a:ext cx="46163" cy="46163"/>
              </a:xfrm>
              <a:custGeom>
                <a:avLst/>
                <a:gdLst>
                  <a:gd name="connsiteX0" fmla="*/ 610 w 46163"/>
                  <a:gd name="connsiteY0" fmla="*/ 248 h 46163"/>
                  <a:gd name="connsiteX1" fmla="*/ 46773 w 46163"/>
                  <a:gd name="connsiteY1" fmla="*/ 248 h 46163"/>
                  <a:gd name="connsiteX2" fmla="*/ 46773 w 46163"/>
                  <a:gd name="connsiteY2" fmla="*/ 46412 h 46163"/>
                  <a:gd name="connsiteX3" fmla="*/ 610 w 46163"/>
                  <a:gd name="connsiteY3" fmla="*/ 46412 h 46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63" h="46163">
                    <a:moveTo>
                      <a:pt x="610" y="248"/>
                    </a:moveTo>
                    <a:lnTo>
                      <a:pt x="46773" y="248"/>
                    </a:lnTo>
                    <a:lnTo>
                      <a:pt x="46773" y="46412"/>
                    </a:lnTo>
                    <a:lnTo>
                      <a:pt x="610" y="46412"/>
                    </a:lnTo>
                    <a:close/>
                  </a:path>
                </a:pathLst>
              </a:custGeom>
              <a:grpFill/>
              <a:ln w="1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E419C7D4-DB2B-4DD7-9631-E8848230E98F}"/>
                  </a:ext>
                </a:extLst>
              </p:cNvPr>
              <p:cNvSpPr/>
              <p:nvPr/>
            </p:nvSpPr>
            <p:spPr>
              <a:xfrm rot="-5400000">
                <a:off x="5153838" y="1997107"/>
                <a:ext cx="192876" cy="192876"/>
              </a:xfrm>
              <a:custGeom>
                <a:avLst/>
                <a:gdLst>
                  <a:gd name="connsiteX0" fmla="*/ 636 w 192876"/>
                  <a:gd name="connsiteY0" fmla="*/ 27 h 192876"/>
                  <a:gd name="connsiteX1" fmla="*/ 193512 w 192876"/>
                  <a:gd name="connsiteY1" fmla="*/ 27 h 192876"/>
                  <a:gd name="connsiteX2" fmla="*/ 193512 w 192876"/>
                  <a:gd name="connsiteY2" fmla="*/ 192904 h 192876"/>
                  <a:gd name="connsiteX3" fmla="*/ 636 w 192876"/>
                  <a:gd name="connsiteY3" fmla="*/ 192904 h 19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76" h="192876">
                    <a:moveTo>
                      <a:pt x="636" y="27"/>
                    </a:moveTo>
                    <a:lnTo>
                      <a:pt x="193512" y="27"/>
                    </a:lnTo>
                    <a:lnTo>
                      <a:pt x="193512" y="192904"/>
                    </a:lnTo>
                    <a:lnTo>
                      <a:pt x="636" y="192904"/>
                    </a:lnTo>
                    <a:close/>
                  </a:path>
                </a:pathLst>
              </a:custGeom>
              <a:grpFill/>
              <a:ln w="69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7EFF418-A78A-448D-8E72-2EEC20DA5BDF}"/>
                  </a:ext>
                </a:extLst>
              </p:cNvPr>
              <p:cNvSpPr/>
              <p:nvPr/>
            </p:nvSpPr>
            <p:spPr>
              <a:xfrm rot="-1649400">
                <a:off x="3669992" y="5885828"/>
                <a:ext cx="169302" cy="169302"/>
              </a:xfrm>
              <a:custGeom>
                <a:avLst/>
                <a:gdLst>
                  <a:gd name="connsiteX0" fmla="*/ 443 w 169302"/>
                  <a:gd name="connsiteY0" fmla="*/ 526 h 169302"/>
                  <a:gd name="connsiteX1" fmla="*/ 169746 w 169302"/>
                  <a:gd name="connsiteY1" fmla="*/ 526 h 169302"/>
                  <a:gd name="connsiteX2" fmla="*/ 169746 w 169302"/>
                  <a:gd name="connsiteY2" fmla="*/ 169829 h 169302"/>
                  <a:gd name="connsiteX3" fmla="*/ 443 w 169302"/>
                  <a:gd name="connsiteY3" fmla="*/ 169829 h 16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02" h="169302">
                    <a:moveTo>
                      <a:pt x="443" y="526"/>
                    </a:moveTo>
                    <a:lnTo>
                      <a:pt x="169746" y="526"/>
                    </a:lnTo>
                    <a:lnTo>
                      <a:pt x="169746" y="169829"/>
                    </a:lnTo>
                    <a:lnTo>
                      <a:pt x="443" y="169829"/>
                    </a:lnTo>
                    <a:close/>
                  </a:path>
                </a:pathLst>
              </a:custGeom>
              <a:grpFill/>
              <a:ln w="61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A1B81A8A-76C3-410F-A263-6B12E710775E}"/>
                  </a:ext>
                </a:extLst>
              </p:cNvPr>
              <p:cNvSpPr/>
              <p:nvPr/>
            </p:nvSpPr>
            <p:spPr>
              <a:xfrm rot="-1083601">
                <a:off x="2923942" y="5534384"/>
                <a:ext cx="60006" cy="60006"/>
              </a:xfrm>
              <a:custGeom>
                <a:avLst/>
                <a:gdLst>
                  <a:gd name="connsiteX0" fmla="*/ 340 w 60006"/>
                  <a:gd name="connsiteY0" fmla="*/ 474 h 60006"/>
                  <a:gd name="connsiteX1" fmla="*/ 60346 w 60006"/>
                  <a:gd name="connsiteY1" fmla="*/ 474 h 60006"/>
                  <a:gd name="connsiteX2" fmla="*/ 60346 w 60006"/>
                  <a:gd name="connsiteY2" fmla="*/ 60480 h 60006"/>
                  <a:gd name="connsiteX3" fmla="*/ 340 w 60006"/>
                  <a:gd name="connsiteY3" fmla="*/ 60480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40" y="474"/>
                    </a:moveTo>
                    <a:lnTo>
                      <a:pt x="60346" y="474"/>
                    </a:lnTo>
                    <a:lnTo>
                      <a:pt x="60346" y="60480"/>
                    </a:lnTo>
                    <a:lnTo>
                      <a:pt x="340" y="60480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7C213578-E9D9-4FF1-B35D-B3B376DAF9DF}"/>
                  </a:ext>
                </a:extLst>
              </p:cNvPr>
              <p:cNvSpPr/>
              <p:nvPr/>
            </p:nvSpPr>
            <p:spPr>
              <a:xfrm rot="-4404004">
                <a:off x="5530564" y="3551780"/>
                <a:ext cx="83579" cy="83579"/>
              </a:xfrm>
              <a:custGeom>
                <a:avLst/>
                <a:gdLst>
                  <a:gd name="connsiteX0" fmla="*/ 677 w 83579"/>
                  <a:gd name="connsiteY0" fmla="*/ 220 h 83579"/>
                  <a:gd name="connsiteX1" fmla="*/ 84257 w 83579"/>
                  <a:gd name="connsiteY1" fmla="*/ 220 h 83579"/>
                  <a:gd name="connsiteX2" fmla="*/ 84257 w 83579"/>
                  <a:gd name="connsiteY2" fmla="*/ 83800 h 83579"/>
                  <a:gd name="connsiteX3" fmla="*/ 677 w 83579"/>
                  <a:gd name="connsiteY3" fmla="*/ 83800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77" y="220"/>
                    </a:moveTo>
                    <a:lnTo>
                      <a:pt x="84257" y="220"/>
                    </a:lnTo>
                    <a:lnTo>
                      <a:pt x="84257" y="83800"/>
                    </a:lnTo>
                    <a:lnTo>
                      <a:pt x="677" y="83800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C89EDF5-6671-4084-9D2E-E43C698789F2}"/>
                  </a:ext>
                </a:extLst>
              </p:cNvPr>
              <p:cNvSpPr/>
              <p:nvPr/>
            </p:nvSpPr>
            <p:spPr>
              <a:xfrm rot="-1390804">
                <a:off x="3261850" y="5611329"/>
                <a:ext cx="77150" cy="77150"/>
              </a:xfrm>
              <a:custGeom>
                <a:avLst/>
                <a:gdLst>
                  <a:gd name="connsiteX0" fmla="*/ 385 w 77150"/>
                  <a:gd name="connsiteY0" fmla="*/ 485 h 77150"/>
                  <a:gd name="connsiteX1" fmla="*/ 77535 w 77150"/>
                  <a:gd name="connsiteY1" fmla="*/ 485 h 77150"/>
                  <a:gd name="connsiteX2" fmla="*/ 77535 w 77150"/>
                  <a:gd name="connsiteY2" fmla="*/ 77636 h 77150"/>
                  <a:gd name="connsiteX3" fmla="*/ 385 w 77150"/>
                  <a:gd name="connsiteY3" fmla="*/ 77636 h 7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0" h="77150">
                    <a:moveTo>
                      <a:pt x="385" y="485"/>
                    </a:moveTo>
                    <a:lnTo>
                      <a:pt x="77535" y="485"/>
                    </a:lnTo>
                    <a:lnTo>
                      <a:pt x="77535" y="77636"/>
                    </a:lnTo>
                    <a:lnTo>
                      <a:pt x="385" y="77636"/>
                    </a:lnTo>
                    <a:close/>
                  </a:path>
                </a:pathLst>
              </a:custGeom>
              <a:grpFill/>
              <a:ln w="2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2B49A2A4-AA46-4A35-917C-AD517815CE3D}"/>
                  </a:ext>
                </a:extLst>
              </p:cNvPr>
              <p:cNvSpPr/>
              <p:nvPr/>
            </p:nvSpPr>
            <p:spPr>
              <a:xfrm rot="-4223274">
                <a:off x="4902357" y="3485864"/>
                <a:ext cx="197930" cy="197930"/>
              </a:xfrm>
              <a:custGeom>
                <a:avLst/>
                <a:gdLst>
                  <a:gd name="connsiteX0" fmla="*/ 604 w 197930"/>
                  <a:gd name="connsiteY0" fmla="*/ 219 h 197930"/>
                  <a:gd name="connsiteX1" fmla="*/ 198534 w 197930"/>
                  <a:gd name="connsiteY1" fmla="*/ 219 h 197930"/>
                  <a:gd name="connsiteX2" fmla="*/ 198534 w 197930"/>
                  <a:gd name="connsiteY2" fmla="*/ 198149 h 197930"/>
                  <a:gd name="connsiteX3" fmla="*/ 604 w 197930"/>
                  <a:gd name="connsiteY3" fmla="*/ 198149 h 19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930" h="197930">
                    <a:moveTo>
                      <a:pt x="604" y="219"/>
                    </a:moveTo>
                    <a:lnTo>
                      <a:pt x="198534" y="219"/>
                    </a:lnTo>
                    <a:lnTo>
                      <a:pt x="198534" y="198149"/>
                    </a:lnTo>
                    <a:lnTo>
                      <a:pt x="604" y="198149"/>
                    </a:lnTo>
                    <a:close/>
                  </a:path>
                </a:pathLst>
              </a:custGeom>
              <a:grpFill/>
              <a:ln w="71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CB4F7848-20F3-4EC6-94FB-B963B2E52512}"/>
                  </a:ext>
                </a:extLst>
              </p:cNvPr>
              <p:cNvSpPr/>
              <p:nvPr/>
            </p:nvSpPr>
            <p:spPr>
              <a:xfrm rot="-5400000">
                <a:off x="5269772" y="2200222"/>
                <a:ext cx="60006" cy="60006"/>
              </a:xfrm>
              <a:custGeom>
                <a:avLst/>
                <a:gdLst>
                  <a:gd name="connsiteX0" fmla="*/ 642 w 60006"/>
                  <a:gd name="connsiteY0" fmla="*/ 45 h 60006"/>
                  <a:gd name="connsiteX1" fmla="*/ 60648 w 60006"/>
                  <a:gd name="connsiteY1" fmla="*/ 45 h 60006"/>
                  <a:gd name="connsiteX2" fmla="*/ 60648 w 60006"/>
                  <a:gd name="connsiteY2" fmla="*/ 60051 h 60006"/>
                  <a:gd name="connsiteX3" fmla="*/ 642 w 60006"/>
                  <a:gd name="connsiteY3" fmla="*/ 60051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642" y="45"/>
                    </a:moveTo>
                    <a:lnTo>
                      <a:pt x="60648" y="45"/>
                    </a:lnTo>
                    <a:lnTo>
                      <a:pt x="60648" y="60051"/>
                    </a:lnTo>
                    <a:lnTo>
                      <a:pt x="642" y="60051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F8CC97C-D5C0-4A87-8614-F8F894B8A021}"/>
                  </a:ext>
                </a:extLst>
              </p:cNvPr>
              <p:cNvSpPr/>
              <p:nvPr/>
            </p:nvSpPr>
            <p:spPr>
              <a:xfrm rot="1108801">
                <a:off x="848788" y="5702577"/>
                <a:ext cx="57862" cy="57862"/>
              </a:xfrm>
              <a:custGeom>
                <a:avLst/>
                <a:gdLst>
                  <a:gd name="connsiteX0" fmla="*/ 73 w 57862"/>
                  <a:gd name="connsiteY0" fmla="*/ 495 h 57862"/>
                  <a:gd name="connsiteX1" fmla="*/ 57936 w 57862"/>
                  <a:gd name="connsiteY1" fmla="*/ 495 h 57862"/>
                  <a:gd name="connsiteX2" fmla="*/ 57936 w 57862"/>
                  <a:gd name="connsiteY2" fmla="*/ 58358 h 57862"/>
                  <a:gd name="connsiteX3" fmla="*/ 73 w 57862"/>
                  <a:gd name="connsiteY3" fmla="*/ 58358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73" y="495"/>
                    </a:moveTo>
                    <a:lnTo>
                      <a:pt x="57936" y="495"/>
                    </a:lnTo>
                    <a:lnTo>
                      <a:pt x="57936" y="58358"/>
                    </a:lnTo>
                    <a:lnTo>
                      <a:pt x="73" y="58358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DB1E3FA-1DFF-42E7-98A4-1148845AAE55}"/>
                  </a:ext>
                </a:extLst>
              </p:cNvPr>
              <p:cNvSpPr/>
              <p:nvPr/>
            </p:nvSpPr>
            <p:spPr>
              <a:xfrm rot="-3114674">
                <a:off x="4799186" y="4712519"/>
                <a:ext cx="100747" cy="100747"/>
              </a:xfrm>
              <a:custGeom>
                <a:avLst/>
                <a:gdLst>
                  <a:gd name="connsiteX0" fmla="*/ 584 w 100747"/>
                  <a:gd name="connsiteY0" fmla="*/ 371 h 100747"/>
                  <a:gd name="connsiteX1" fmla="*/ 101331 w 100747"/>
                  <a:gd name="connsiteY1" fmla="*/ 371 h 100747"/>
                  <a:gd name="connsiteX2" fmla="*/ 101331 w 100747"/>
                  <a:gd name="connsiteY2" fmla="*/ 101118 h 100747"/>
                  <a:gd name="connsiteX3" fmla="*/ 584 w 100747"/>
                  <a:gd name="connsiteY3" fmla="*/ 101118 h 100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47" h="100747">
                    <a:moveTo>
                      <a:pt x="584" y="371"/>
                    </a:moveTo>
                    <a:lnTo>
                      <a:pt x="101331" y="371"/>
                    </a:lnTo>
                    <a:lnTo>
                      <a:pt x="101331" y="101118"/>
                    </a:lnTo>
                    <a:lnTo>
                      <a:pt x="584" y="101118"/>
                    </a:lnTo>
                    <a:close/>
                  </a:path>
                </a:pathLst>
              </a:custGeom>
              <a:grpFill/>
              <a:ln w="3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DCE8EA5-1D54-496F-BAA0-D3994B14F3DB}"/>
                  </a:ext>
                </a:extLst>
              </p:cNvPr>
              <p:cNvSpPr/>
              <p:nvPr/>
            </p:nvSpPr>
            <p:spPr>
              <a:xfrm rot="-1104600">
                <a:off x="3002588" y="5797686"/>
                <a:ext cx="147872" cy="147872"/>
              </a:xfrm>
              <a:custGeom>
                <a:avLst/>
                <a:gdLst>
                  <a:gd name="connsiteX0" fmla="*/ 356 w 147872"/>
                  <a:gd name="connsiteY0" fmla="*/ 513 h 147872"/>
                  <a:gd name="connsiteX1" fmla="*/ 148228 w 147872"/>
                  <a:gd name="connsiteY1" fmla="*/ 513 h 147872"/>
                  <a:gd name="connsiteX2" fmla="*/ 148228 w 147872"/>
                  <a:gd name="connsiteY2" fmla="*/ 148386 h 147872"/>
                  <a:gd name="connsiteX3" fmla="*/ 356 w 147872"/>
                  <a:gd name="connsiteY3" fmla="*/ 148386 h 14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872" h="147872">
                    <a:moveTo>
                      <a:pt x="356" y="513"/>
                    </a:moveTo>
                    <a:lnTo>
                      <a:pt x="148228" y="513"/>
                    </a:lnTo>
                    <a:lnTo>
                      <a:pt x="148228" y="148386"/>
                    </a:lnTo>
                    <a:lnTo>
                      <a:pt x="356" y="148386"/>
                    </a:lnTo>
                    <a:close/>
                  </a:path>
                </a:pathLst>
              </a:custGeom>
              <a:grpFill/>
              <a:ln w="53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E00C3D4F-377C-4A09-A828-C7608FD37C8A}"/>
                  </a:ext>
                </a:extLst>
              </p:cNvPr>
              <p:cNvSpPr/>
              <p:nvPr/>
            </p:nvSpPr>
            <p:spPr>
              <a:xfrm rot="-849601">
                <a:off x="2719489" y="5621535"/>
                <a:ext cx="70721" cy="70721"/>
              </a:xfrm>
              <a:custGeom>
                <a:avLst/>
                <a:gdLst>
                  <a:gd name="connsiteX0" fmla="*/ 315 w 70721"/>
                  <a:gd name="connsiteY0" fmla="*/ 486 h 70721"/>
                  <a:gd name="connsiteX1" fmla="*/ 71036 w 70721"/>
                  <a:gd name="connsiteY1" fmla="*/ 486 h 70721"/>
                  <a:gd name="connsiteX2" fmla="*/ 71036 w 70721"/>
                  <a:gd name="connsiteY2" fmla="*/ 71207 h 70721"/>
                  <a:gd name="connsiteX3" fmla="*/ 315 w 70721"/>
                  <a:gd name="connsiteY3" fmla="*/ 71207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315" y="486"/>
                    </a:moveTo>
                    <a:lnTo>
                      <a:pt x="71036" y="486"/>
                    </a:lnTo>
                    <a:lnTo>
                      <a:pt x="71036" y="71207"/>
                    </a:lnTo>
                    <a:lnTo>
                      <a:pt x="315" y="71207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F27EF1A7-B54A-4E9A-AD2A-3EE8435E6B35}"/>
                  </a:ext>
                </a:extLst>
              </p:cNvPr>
              <p:cNvSpPr/>
              <p:nvPr/>
            </p:nvSpPr>
            <p:spPr>
              <a:xfrm rot="-5274600">
                <a:off x="5449159" y="2575602"/>
                <a:ext cx="137156" cy="137156"/>
              </a:xfrm>
              <a:custGeom>
                <a:avLst/>
                <a:gdLst>
                  <a:gd name="connsiteX0" fmla="*/ 670 w 137156"/>
                  <a:gd name="connsiteY0" fmla="*/ 98 h 137156"/>
                  <a:gd name="connsiteX1" fmla="*/ 137827 w 137156"/>
                  <a:gd name="connsiteY1" fmla="*/ 98 h 137156"/>
                  <a:gd name="connsiteX2" fmla="*/ 137827 w 137156"/>
                  <a:gd name="connsiteY2" fmla="*/ 137255 h 137156"/>
                  <a:gd name="connsiteX3" fmla="*/ 670 w 137156"/>
                  <a:gd name="connsiteY3" fmla="*/ 137255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670" y="98"/>
                    </a:moveTo>
                    <a:lnTo>
                      <a:pt x="137827" y="98"/>
                    </a:lnTo>
                    <a:lnTo>
                      <a:pt x="137827" y="137255"/>
                    </a:lnTo>
                    <a:lnTo>
                      <a:pt x="670" y="137255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D2AC40F-AAA2-4BC9-920B-E6199EA0ACC1}"/>
                  </a:ext>
                </a:extLst>
              </p:cNvPr>
              <p:cNvSpPr/>
              <p:nvPr/>
            </p:nvSpPr>
            <p:spPr>
              <a:xfrm rot="875335">
                <a:off x="986998" y="5794008"/>
                <a:ext cx="161656" cy="161656"/>
              </a:xfrm>
              <a:custGeom>
                <a:avLst/>
                <a:gdLst>
                  <a:gd name="connsiteX0" fmla="*/ 97 w 161656"/>
                  <a:gd name="connsiteY0" fmla="*/ 514 h 161656"/>
                  <a:gd name="connsiteX1" fmla="*/ 161754 w 161656"/>
                  <a:gd name="connsiteY1" fmla="*/ 514 h 161656"/>
                  <a:gd name="connsiteX2" fmla="*/ 161754 w 161656"/>
                  <a:gd name="connsiteY2" fmla="*/ 162171 h 161656"/>
                  <a:gd name="connsiteX3" fmla="*/ 97 w 161656"/>
                  <a:gd name="connsiteY3" fmla="*/ 162171 h 16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56" h="161656">
                    <a:moveTo>
                      <a:pt x="97" y="514"/>
                    </a:moveTo>
                    <a:lnTo>
                      <a:pt x="161754" y="514"/>
                    </a:lnTo>
                    <a:lnTo>
                      <a:pt x="161754" y="162171"/>
                    </a:lnTo>
                    <a:lnTo>
                      <a:pt x="97" y="162171"/>
                    </a:lnTo>
                    <a:close/>
                  </a:path>
                </a:pathLst>
              </a:custGeom>
              <a:grpFill/>
              <a:ln w="5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5CED95F9-FF2E-4F2A-B427-83849A84D0C8}"/>
                  </a:ext>
                </a:extLst>
              </p:cNvPr>
              <p:cNvSpPr/>
              <p:nvPr/>
            </p:nvSpPr>
            <p:spPr>
              <a:xfrm rot="-4835999">
                <a:off x="5174073" y="3031052"/>
                <a:ext cx="45004" cy="45004"/>
              </a:xfrm>
              <a:custGeom>
                <a:avLst/>
                <a:gdLst>
                  <a:gd name="connsiteX0" fmla="*/ 629 w 45004"/>
                  <a:gd name="connsiteY0" fmla="*/ 151 h 45004"/>
                  <a:gd name="connsiteX1" fmla="*/ 45633 w 45004"/>
                  <a:gd name="connsiteY1" fmla="*/ 151 h 45004"/>
                  <a:gd name="connsiteX2" fmla="*/ 45633 w 45004"/>
                  <a:gd name="connsiteY2" fmla="*/ 45155 h 45004"/>
                  <a:gd name="connsiteX3" fmla="*/ 629 w 45004"/>
                  <a:gd name="connsiteY3" fmla="*/ 45155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151"/>
                    </a:moveTo>
                    <a:lnTo>
                      <a:pt x="45633" y="151"/>
                    </a:lnTo>
                    <a:lnTo>
                      <a:pt x="45633" y="45155"/>
                    </a:lnTo>
                    <a:lnTo>
                      <a:pt x="629" y="45155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7063CE5F-E065-4B2F-965F-B6E119C4E117}"/>
                  </a:ext>
                </a:extLst>
              </p:cNvPr>
              <p:cNvSpPr/>
              <p:nvPr/>
            </p:nvSpPr>
            <p:spPr>
              <a:xfrm rot="-124800">
                <a:off x="2021503" y="6302217"/>
                <a:ext cx="156444" cy="156444"/>
              </a:xfrm>
              <a:custGeom>
                <a:avLst/>
                <a:gdLst>
                  <a:gd name="connsiteX0" fmla="*/ 230 w 156444"/>
                  <a:gd name="connsiteY0" fmla="*/ 579 h 156444"/>
                  <a:gd name="connsiteX1" fmla="*/ 156675 w 156444"/>
                  <a:gd name="connsiteY1" fmla="*/ 579 h 156444"/>
                  <a:gd name="connsiteX2" fmla="*/ 156675 w 156444"/>
                  <a:gd name="connsiteY2" fmla="*/ 157023 h 156444"/>
                  <a:gd name="connsiteX3" fmla="*/ 230 w 156444"/>
                  <a:gd name="connsiteY3" fmla="*/ 157023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230" y="579"/>
                    </a:moveTo>
                    <a:lnTo>
                      <a:pt x="156675" y="579"/>
                    </a:lnTo>
                    <a:lnTo>
                      <a:pt x="156675" y="157023"/>
                    </a:lnTo>
                    <a:lnTo>
                      <a:pt x="230" y="157023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8BB64CB-C254-4181-AEDF-C334416BD4BA}"/>
                  </a:ext>
                </a:extLst>
              </p:cNvPr>
              <p:cNvSpPr/>
              <p:nvPr/>
            </p:nvSpPr>
            <p:spPr>
              <a:xfrm rot="-4210794">
                <a:off x="5410853" y="3736782"/>
                <a:ext cx="66435" cy="66435"/>
              </a:xfrm>
              <a:custGeom>
                <a:avLst/>
                <a:gdLst>
                  <a:gd name="connsiteX0" fmla="*/ 661 w 66435"/>
                  <a:gd name="connsiteY0" fmla="*/ 243 h 66435"/>
                  <a:gd name="connsiteX1" fmla="*/ 67096 w 66435"/>
                  <a:gd name="connsiteY1" fmla="*/ 243 h 66435"/>
                  <a:gd name="connsiteX2" fmla="*/ 67096 w 66435"/>
                  <a:gd name="connsiteY2" fmla="*/ 66678 h 66435"/>
                  <a:gd name="connsiteX3" fmla="*/ 661 w 66435"/>
                  <a:gd name="connsiteY3" fmla="*/ 66678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661" y="243"/>
                    </a:moveTo>
                    <a:lnTo>
                      <a:pt x="67096" y="243"/>
                    </a:lnTo>
                    <a:lnTo>
                      <a:pt x="67096" y="66678"/>
                    </a:lnTo>
                    <a:lnTo>
                      <a:pt x="661" y="66678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BF19027-81BA-4C64-A6BA-2AE96FE25CC8}"/>
                  </a:ext>
                </a:extLst>
              </p:cNvPr>
              <p:cNvSpPr/>
              <p:nvPr/>
            </p:nvSpPr>
            <p:spPr>
              <a:xfrm rot="-3267739">
                <a:off x="4717538" y="4432157"/>
                <a:ext cx="239660" cy="239660"/>
              </a:xfrm>
              <a:custGeom>
                <a:avLst/>
                <a:gdLst>
                  <a:gd name="connsiteX0" fmla="*/ 583 w 239660"/>
                  <a:gd name="connsiteY0" fmla="*/ 344 h 239660"/>
                  <a:gd name="connsiteX1" fmla="*/ 240243 w 239660"/>
                  <a:gd name="connsiteY1" fmla="*/ 344 h 239660"/>
                  <a:gd name="connsiteX2" fmla="*/ 240243 w 239660"/>
                  <a:gd name="connsiteY2" fmla="*/ 240004 h 239660"/>
                  <a:gd name="connsiteX3" fmla="*/ 583 w 239660"/>
                  <a:gd name="connsiteY3" fmla="*/ 240004 h 23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660" h="239660">
                    <a:moveTo>
                      <a:pt x="583" y="344"/>
                    </a:moveTo>
                    <a:lnTo>
                      <a:pt x="240243" y="344"/>
                    </a:lnTo>
                    <a:lnTo>
                      <a:pt x="240243" y="240004"/>
                    </a:lnTo>
                    <a:lnTo>
                      <a:pt x="583" y="240004"/>
                    </a:lnTo>
                    <a:close/>
                  </a:path>
                </a:pathLst>
              </a:custGeom>
              <a:grpFill/>
              <a:ln w="86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BF4C763-61B1-4C12-9F33-74046DE9CC41}"/>
                  </a:ext>
                </a:extLst>
              </p:cNvPr>
              <p:cNvSpPr/>
              <p:nvPr/>
            </p:nvSpPr>
            <p:spPr>
              <a:xfrm rot="640800">
                <a:off x="1294592" y="5762406"/>
                <a:ext cx="72864" cy="72864"/>
              </a:xfrm>
              <a:custGeom>
                <a:avLst/>
                <a:gdLst>
                  <a:gd name="connsiteX0" fmla="*/ 131 w 72864"/>
                  <a:gd name="connsiteY0" fmla="*/ 504 h 72864"/>
                  <a:gd name="connsiteX1" fmla="*/ 72996 w 72864"/>
                  <a:gd name="connsiteY1" fmla="*/ 504 h 72864"/>
                  <a:gd name="connsiteX2" fmla="*/ 72996 w 72864"/>
                  <a:gd name="connsiteY2" fmla="*/ 73369 h 72864"/>
                  <a:gd name="connsiteX3" fmla="*/ 131 w 72864"/>
                  <a:gd name="connsiteY3" fmla="*/ 73369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131" y="504"/>
                    </a:moveTo>
                    <a:lnTo>
                      <a:pt x="72996" y="504"/>
                    </a:lnTo>
                    <a:lnTo>
                      <a:pt x="72996" y="73369"/>
                    </a:lnTo>
                    <a:lnTo>
                      <a:pt x="131" y="73369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6721AD4-1123-44BC-A0D1-0A2094CD0617}"/>
                  </a:ext>
                </a:extLst>
              </p:cNvPr>
              <p:cNvSpPr/>
              <p:nvPr/>
            </p:nvSpPr>
            <p:spPr>
              <a:xfrm rot="-93600">
                <a:off x="1967771" y="5973219"/>
                <a:ext cx="175732" cy="175732"/>
              </a:xfrm>
              <a:custGeom>
                <a:avLst/>
                <a:gdLst>
                  <a:gd name="connsiteX0" fmla="*/ 225 w 175732"/>
                  <a:gd name="connsiteY0" fmla="*/ 538 h 175732"/>
                  <a:gd name="connsiteX1" fmla="*/ 175957 w 175732"/>
                  <a:gd name="connsiteY1" fmla="*/ 538 h 175732"/>
                  <a:gd name="connsiteX2" fmla="*/ 175957 w 175732"/>
                  <a:gd name="connsiteY2" fmla="*/ 176270 h 175732"/>
                  <a:gd name="connsiteX3" fmla="*/ 225 w 175732"/>
                  <a:gd name="connsiteY3" fmla="*/ 176270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225" y="538"/>
                    </a:moveTo>
                    <a:lnTo>
                      <a:pt x="175957" y="538"/>
                    </a:lnTo>
                    <a:lnTo>
                      <a:pt x="175957" y="176270"/>
                    </a:lnTo>
                    <a:lnTo>
                      <a:pt x="225" y="176270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7EA7110-FF86-409B-89BB-5CB87283E789}"/>
                  </a:ext>
                </a:extLst>
              </p:cNvPr>
              <p:cNvSpPr/>
              <p:nvPr/>
            </p:nvSpPr>
            <p:spPr>
              <a:xfrm rot="-5273400">
                <a:off x="5622184" y="2534835"/>
                <a:ext cx="237881" cy="237881"/>
              </a:xfrm>
              <a:custGeom>
                <a:avLst/>
                <a:gdLst>
                  <a:gd name="connsiteX0" fmla="*/ 699 w 237881"/>
                  <a:gd name="connsiteY0" fmla="*/ 99 h 237881"/>
                  <a:gd name="connsiteX1" fmla="*/ 238581 w 237881"/>
                  <a:gd name="connsiteY1" fmla="*/ 99 h 237881"/>
                  <a:gd name="connsiteX2" fmla="*/ 238581 w 237881"/>
                  <a:gd name="connsiteY2" fmla="*/ 237981 h 237881"/>
                  <a:gd name="connsiteX3" fmla="*/ 699 w 237881"/>
                  <a:gd name="connsiteY3" fmla="*/ 237981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699" y="99"/>
                    </a:moveTo>
                    <a:lnTo>
                      <a:pt x="238581" y="99"/>
                    </a:lnTo>
                    <a:lnTo>
                      <a:pt x="238581" y="237981"/>
                    </a:lnTo>
                    <a:lnTo>
                      <a:pt x="699" y="237981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1609252-BA5E-48B2-B1B3-7BF7C1C4281E}"/>
                  </a:ext>
                </a:extLst>
              </p:cNvPr>
              <p:cNvSpPr/>
              <p:nvPr/>
            </p:nvSpPr>
            <p:spPr>
              <a:xfrm rot="-3345601">
                <a:off x="4923760" y="4502706"/>
                <a:ext cx="162873" cy="162873"/>
              </a:xfrm>
              <a:custGeom>
                <a:avLst/>
                <a:gdLst>
                  <a:gd name="connsiteX0" fmla="*/ 604 w 162873"/>
                  <a:gd name="connsiteY0" fmla="*/ 348 h 162873"/>
                  <a:gd name="connsiteX1" fmla="*/ 163478 w 162873"/>
                  <a:gd name="connsiteY1" fmla="*/ 348 h 162873"/>
                  <a:gd name="connsiteX2" fmla="*/ 163478 w 162873"/>
                  <a:gd name="connsiteY2" fmla="*/ 163222 h 162873"/>
                  <a:gd name="connsiteX3" fmla="*/ 604 w 162873"/>
                  <a:gd name="connsiteY3" fmla="*/ 1632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604" y="348"/>
                    </a:moveTo>
                    <a:lnTo>
                      <a:pt x="163478" y="348"/>
                    </a:lnTo>
                    <a:lnTo>
                      <a:pt x="163478" y="163222"/>
                    </a:lnTo>
                    <a:lnTo>
                      <a:pt x="604" y="1632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4B0C3FC-96D4-4F1C-B1A3-EA3F03FCFC89}"/>
                  </a:ext>
                </a:extLst>
              </p:cNvPr>
              <p:cNvSpPr/>
              <p:nvPr/>
            </p:nvSpPr>
            <p:spPr>
              <a:xfrm rot="245137">
                <a:off x="1679417" y="6177098"/>
                <a:ext cx="60158" cy="60158"/>
              </a:xfrm>
              <a:custGeom>
                <a:avLst/>
                <a:gdLst>
                  <a:gd name="connsiteX0" fmla="*/ 180 w 60158"/>
                  <a:gd name="connsiteY0" fmla="*/ 557 h 60158"/>
                  <a:gd name="connsiteX1" fmla="*/ 60339 w 60158"/>
                  <a:gd name="connsiteY1" fmla="*/ 557 h 60158"/>
                  <a:gd name="connsiteX2" fmla="*/ 60339 w 60158"/>
                  <a:gd name="connsiteY2" fmla="*/ 60716 h 60158"/>
                  <a:gd name="connsiteX3" fmla="*/ 180 w 60158"/>
                  <a:gd name="connsiteY3" fmla="*/ 60716 h 6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58" h="60158">
                    <a:moveTo>
                      <a:pt x="180" y="557"/>
                    </a:moveTo>
                    <a:lnTo>
                      <a:pt x="60339" y="557"/>
                    </a:lnTo>
                    <a:lnTo>
                      <a:pt x="60339" y="60716"/>
                    </a:lnTo>
                    <a:lnTo>
                      <a:pt x="180" y="60716"/>
                    </a:lnTo>
                    <a:close/>
                  </a:path>
                </a:pathLst>
              </a:custGeom>
              <a:grpFill/>
              <a:ln w="21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B79BFE8-1280-43B9-BCA1-FBD7B653571F}"/>
                  </a:ext>
                </a:extLst>
              </p:cNvPr>
              <p:cNvSpPr/>
              <p:nvPr/>
            </p:nvSpPr>
            <p:spPr>
              <a:xfrm rot="-232200">
                <a:off x="2172335" y="6085527"/>
                <a:ext cx="64292" cy="64292"/>
              </a:xfrm>
              <a:custGeom>
                <a:avLst/>
                <a:gdLst>
                  <a:gd name="connsiteX0" fmla="*/ 244 w 64292"/>
                  <a:gd name="connsiteY0" fmla="*/ 545 h 64292"/>
                  <a:gd name="connsiteX1" fmla="*/ 64536 w 64292"/>
                  <a:gd name="connsiteY1" fmla="*/ 545 h 64292"/>
                  <a:gd name="connsiteX2" fmla="*/ 64536 w 64292"/>
                  <a:gd name="connsiteY2" fmla="*/ 64837 h 64292"/>
                  <a:gd name="connsiteX3" fmla="*/ 244 w 64292"/>
                  <a:gd name="connsiteY3" fmla="*/ 64837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244" y="545"/>
                    </a:moveTo>
                    <a:lnTo>
                      <a:pt x="64536" y="545"/>
                    </a:lnTo>
                    <a:lnTo>
                      <a:pt x="64536" y="64837"/>
                    </a:lnTo>
                    <a:lnTo>
                      <a:pt x="244" y="64837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797422B0-7F12-4E14-96C2-48A6FA44BF7C}"/>
                  </a:ext>
                </a:extLst>
              </p:cNvPr>
              <p:cNvSpPr/>
              <p:nvPr/>
            </p:nvSpPr>
            <p:spPr>
              <a:xfrm rot="-2413794">
                <a:off x="4283913" y="5270761"/>
                <a:ext cx="68578" cy="68578"/>
              </a:xfrm>
              <a:custGeom>
                <a:avLst/>
                <a:gdLst>
                  <a:gd name="connsiteX0" fmla="*/ 516 w 68578"/>
                  <a:gd name="connsiteY0" fmla="*/ 441 h 68578"/>
                  <a:gd name="connsiteX1" fmla="*/ 69094 w 68578"/>
                  <a:gd name="connsiteY1" fmla="*/ 441 h 68578"/>
                  <a:gd name="connsiteX2" fmla="*/ 69094 w 68578"/>
                  <a:gd name="connsiteY2" fmla="*/ 69019 h 68578"/>
                  <a:gd name="connsiteX3" fmla="*/ 516 w 68578"/>
                  <a:gd name="connsiteY3" fmla="*/ 69019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16" y="441"/>
                    </a:moveTo>
                    <a:lnTo>
                      <a:pt x="69094" y="441"/>
                    </a:lnTo>
                    <a:lnTo>
                      <a:pt x="69094" y="69019"/>
                    </a:lnTo>
                    <a:lnTo>
                      <a:pt x="516" y="69019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6EDB1A41-D920-4648-832F-3E542EB80470}"/>
                  </a:ext>
                </a:extLst>
              </p:cNvPr>
              <p:cNvSpPr/>
              <p:nvPr/>
            </p:nvSpPr>
            <p:spPr>
              <a:xfrm rot="-1523999">
                <a:off x="3585083" y="5975298"/>
                <a:ext cx="55719" cy="55719"/>
              </a:xfrm>
              <a:custGeom>
                <a:avLst/>
                <a:gdLst>
                  <a:gd name="connsiteX0" fmla="*/ 425 w 55719"/>
                  <a:gd name="connsiteY0" fmla="*/ 530 h 55719"/>
                  <a:gd name="connsiteX1" fmla="*/ 56145 w 55719"/>
                  <a:gd name="connsiteY1" fmla="*/ 530 h 55719"/>
                  <a:gd name="connsiteX2" fmla="*/ 56145 w 55719"/>
                  <a:gd name="connsiteY2" fmla="*/ 56250 h 55719"/>
                  <a:gd name="connsiteX3" fmla="*/ 425 w 55719"/>
                  <a:gd name="connsiteY3" fmla="*/ 56250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425" y="530"/>
                    </a:moveTo>
                    <a:lnTo>
                      <a:pt x="56145" y="530"/>
                    </a:lnTo>
                    <a:lnTo>
                      <a:pt x="56145" y="56250"/>
                    </a:lnTo>
                    <a:lnTo>
                      <a:pt x="425" y="56250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FB864444-CA23-402F-8299-D07C84519F9E}"/>
                  </a:ext>
                </a:extLst>
              </p:cNvPr>
              <p:cNvSpPr/>
              <p:nvPr/>
            </p:nvSpPr>
            <p:spPr>
              <a:xfrm rot="-1020599">
                <a:off x="2995809" y="6038635"/>
                <a:ext cx="122155" cy="122155"/>
              </a:xfrm>
              <a:custGeom>
                <a:avLst/>
                <a:gdLst>
                  <a:gd name="connsiteX0" fmla="*/ 353 w 122155"/>
                  <a:gd name="connsiteY0" fmla="*/ 543 h 122155"/>
                  <a:gd name="connsiteX1" fmla="*/ 122509 w 122155"/>
                  <a:gd name="connsiteY1" fmla="*/ 543 h 122155"/>
                  <a:gd name="connsiteX2" fmla="*/ 122509 w 122155"/>
                  <a:gd name="connsiteY2" fmla="*/ 122698 h 122155"/>
                  <a:gd name="connsiteX3" fmla="*/ 353 w 122155"/>
                  <a:gd name="connsiteY3" fmla="*/ 122698 h 122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155" h="122155">
                    <a:moveTo>
                      <a:pt x="353" y="543"/>
                    </a:moveTo>
                    <a:lnTo>
                      <a:pt x="122509" y="543"/>
                    </a:lnTo>
                    <a:lnTo>
                      <a:pt x="122509" y="122698"/>
                    </a:lnTo>
                    <a:lnTo>
                      <a:pt x="353" y="122698"/>
                    </a:lnTo>
                    <a:close/>
                  </a:path>
                </a:pathLst>
              </a:custGeom>
              <a:grpFill/>
              <a:ln w="44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2A40C252-B968-438A-A40E-4BEE9B15A6A9}"/>
                  </a:ext>
                </a:extLst>
              </p:cNvPr>
              <p:cNvSpPr/>
              <p:nvPr/>
            </p:nvSpPr>
            <p:spPr>
              <a:xfrm rot="-309000">
                <a:off x="2177503" y="5830108"/>
                <a:ext cx="182161" cy="182161"/>
              </a:xfrm>
              <a:custGeom>
                <a:avLst/>
                <a:gdLst>
                  <a:gd name="connsiteX0" fmla="*/ 252 w 182161"/>
                  <a:gd name="connsiteY0" fmla="*/ 520 h 182161"/>
                  <a:gd name="connsiteX1" fmla="*/ 182413 w 182161"/>
                  <a:gd name="connsiteY1" fmla="*/ 520 h 182161"/>
                  <a:gd name="connsiteX2" fmla="*/ 182413 w 182161"/>
                  <a:gd name="connsiteY2" fmla="*/ 182681 h 182161"/>
                  <a:gd name="connsiteX3" fmla="*/ 252 w 182161"/>
                  <a:gd name="connsiteY3" fmla="*/ 182681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252" y="520"/>
                    </a:moveTo>
                    <a:lnTo>
                      <a:pt x="182413" y="520"/>
                    </a:lnTo>
                    <a:lnTo>
                      <a:pt x="182413" y="182681"/>
                    </a:lnTo>
                    <a:lnTo>
                      <a:pt x="252" y="182681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C293A10-8167-455C-9A90-B435709DD51F}"/>
                  </a:ext>
                </a:extLst>
              </p:cNvPr>
              <p:cNvSpPr/>
              <p:nvPr/>
            </p:nvSpPr>
            <p:spPr>
              <a:xfrm rot="-3685796">
                <a:off x="5139984" y="4224434"/>
                <a:ext cx="83579" cy="83579"/>
              </a:xfrm>
              <a:custGeom>
                <a:avLst/>
                <a:gdLst>
                  <a:gd name="connsiteX0" fmla="*/ 627 w 83579"/>
                  <a:gd name="connsiteY0" fmla="*/ 307 h 83579"/>
                  <a:gd name="connsiteX1" fmla="*/ 84207 w 83579"/>
                  <a:gd name="connsiteY1" fmla="*/ 307 h 83579"/>
                  <a:gd name="connsiteX2" fmla="*/ 84207 w 83579"/>
                  <a:gd name="connsiteY2" fmla="*/ 83887 h 83579"/>
                  <a:gd name="connsiteX3" fmla="*/ 627 w 83579"/>
                  <a:gd name="connsiteY3" fmla="*/ 83887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27" y="307"/>
                    </a:moveTo>
                    <a:lnTo>
                      <a:pt x="84207" y="307"/>
                    </a:lnTo>
                    <a:lnTo>
                      <a:pt x="84207" y="83887"/>
                    </a:lnTo>
                    <a:lnTo>
                      <a:pt x="627" y="83887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1C25E6DE-4F52-4EC6-9CD1-CAC249D57CF0}"/>
                  </a:ext>
                </a:extLst>
              </p:cNvPr>
              <p:cNvSpPr/>
              <p:nvPr/>
            </p:nvSpPr>
            <p:spPr>
              <a:xfrm rot="-5400000">
                <a:off x="5764280" y="2397991"/>
                <a:ext cx="162873" cy="162873"/>
              </a:xfrm>
              <a:custGeom>
                <a:avLst/>
                <a:gdLst>
                  <a:gd name="connsiteX0" fmla="*/ 712 w 162873"/>
                  <a:gd name="connsiteY0" fmla="*/ 77 h 162873"/>
                  <a:gd name="connsiteX1" fmla="*/ 163586 w 162873"/>
                  <a:gd name="connsiteY1" fmla="*/ 77 h 162873"/>
                  <a:gd name="connsiteX2" fmla="*/ 163586 w 162873"/>
                  <a:gd name="connsiteY2" fmla="*/ 162951 h 162873"/>
                  <a:gd name="connsiteX3" fmla="*/ 712 w 162873"/>
                  <a:gd name="connsiteY3" fmla="*/ 162951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712" y="77"/>
                    </a:moveTo>
                    <a:lnTo>
                      <a:pt x="163586" y="77"/>
                    </a:lnTo>
                    <a:lnTo>
                      <a:pt x="163586" y="162951"/>
                    </a:lnTo>
                    <a:lnTo>
                      <a:pt x="712" y="162951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2BF315EE-D482-49CD-AEAF-1A672EA56E93}"/>
                  </a:ext>
                </a:extLst>
              </p:cNvPr>
              <p:cNvSpPr/>
              <p:nvPr/>
            </p:nvSpPr>
            <p:spPr>
              <a:xfrm rot="94200">
                <a:off x="1792987" y="5984607"/>
                <a:ext cx="128584" cy="128584"/>
              </a:xfrm>
              <a:custGeom>
                <a:avLst/>
                <a:gdLst>
                  <a:gd name="connsiteX0" fmla="*/ 199 w 128584"/>
                  <a:gd name="connsiteY0" fmla="*/ 536 h 128584"/>
                  <a:gd name="connsiteX1" fmla="*/ 128784 w 128584"/>
                  <a:gd name="connsiteY1" fmla="*/ 536 h 128584"/>
                  <a:gd name="connsiteX2" fmla="*/ 128784 w 128584"/>
                  <a:gd name="connsiteY2" fmla="*/ 129121 h 128584"/>
                  <a:gd name="connsiteX3" fmla="*/ 199 w 128584"/>
                  <a:gd name="connsiteY3" fmla="*/ 129121 h 12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84" h="128584">
                    <a:moveTo>
                      <a:pt x="199" y="536"/>
                    </a:moveTo>
                    <a:lnTo>
                      <a:pt x="128784" y="536"/>
                    </a:lnTo>
                    <a:lnTo>
                      <a:pt x="128784" y="129121"/>
                    </a:lnTo>
                    <a:lnTo>
                      <a:pt x="199" y="129121"/>
                    </a:lnTo>
                    <a:close/>
                  </a:path>
                </a:pathLst>
              </a:custGeom>
              <a:grpFill/>
              <a:ln w="4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2E9F46E4-7336-4D38-AAD9-5FB96A038C93}"/>
                  </a:ext>
                </a:extLst>
              </p:cNvPr>
              <p:cNvSpPr/>
              <p:nvPr/>
            </p:nvSpPr>
            <p:spPr>
              <a:xfrm rot="-3189600">
                <a:off x="4992397" y="4768596"/>
                <a:ext cx="126441" cy="126441"/>
              </a:xfrm>
              <a:custGeom>
                <a:avLst/>
                <a:gdLst>
                  <a:gd name="connsiteX0" fmla="*/ 611 w 126441"/>
                  <a:gd name="connsiteY0" fmla="*/ 380 h 126441"/>
                  <a:gd name="connsiteX1" fmla="*/ 127052 w 126441"/>
                  <a:gd name="connsiteY1" fmla="*/ 380 h 126441"/>
                  <a:gd name="connsiteX2" fmla="*/ 127052 w 126441"/>
                  <a:gd name="connsiteY2" fmla="*/ 126821 h 126441"/>
                  <a:gd name="connsiteX3" fmla="*/ 611 w 126441"/>
                  <a:gd name="connsiteY3" fmla="*/ 126821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11" y="380"/>
                    </a:moveTo>
                    <a:lnTo>
                      <a:pt x="127052" y="380"/>
                    </a:lnTo>
                    <a:lnTo>
                      <a:pt x="127052" y="126821"/>
                    </a:lnTo>
                    <a:lnTo>
                      <a:pt x="611" y="126821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4B7A248-1480-4E87-82C0-14503563B136}"/>
                  </a:ext>
                </a:extLst>
              </p:cNvPr>
              <p:cNvSpPr/>
              <p:nvPr/>
            </p:nvSpPr>
            <p:spPr>
              <a:xfrm rot="349200">
                <a:off x="1577781" y="5820480"/>
                <a:ext cx="66435" cy="66435"/>
              </a:xfrm>
              <a:custGeom>
                <a:avLst/>
                <a:gdLst>
                  <a:gd name="connsiteX0" fmla="*/ 167 w 66435"/>
                  <a:gd name="connsiteY0" fmla="*/ 511 h 66435"/>
                  <a:gd name="connsiteX1" fmla="*/ 66603 w 66435"/>
                  <a:gd name="connsiteY1" fmla="*/ 511 h 66435"/>
                  <a:gd name="connsiteX2" fmla="*/ 66603 w 66435"/>
                  <a:gd name="connsiteY2" fmla="*/ 66946 h 66435"/>
                  <a:gd name="connsiteX3" fmla="*/ 167 w 66435"/>
                  <a:gd name="connsiteY3" fmla="*/ 66946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167" y="511"/>
                    </a:moveTo>
                    <a:lnTo>
                      <a:pt x="66603" y="511"/>
                    </a:lnTo>
                    <a:lnTo>
                      <a:pt x="66603" y="66946"/>
                    </a:lnTo>
                    <a:lnTo>
                      <a:pt x="167" y="66946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D1AA455C-D3A9-4C4D-8880-9B4768F66401}"/>
                  </a:ext>
                </a:extLst>
              </p:cNvPr>
              <p:cNvSpPr/>
              <p:nvPr/>
            </p:nvSpPr>
            <p:spPr>
              <a:xfrm rot="-1848087">
                <a:off x="3881182" y="5837000"/>
                <a:ext cx="129740" cy="129740"/>
              </a:xfrm>
              <a:custGeom>
                <a:avLst/>
                <a:gdLst>
                  <a:gd name="connsiteX0" fmla="*/ 468 w 129740"/>
                  <a:gd name="connsiteY0" fmla="*/ 517 h 129740"/>
                  <a:gd name="connsiteX1" fmla="*/ 130208 w 129740"/>
                  <a:gd name="connsiteY1" fmla="*/ 517 h 129740"/>
                  <a:gd name="connsiteX2" fmla="*/ 130208 w 129740"/>
                  <a:gd name="connsiteY2" fmla="*/ 130258 h 129740"/>
                  <a:gd name="connsiteX3" fmla="*/ 468 w 129740"/>
                  <a:gd name="connsiteY3" fmla="*/ 130258 h 12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740" h="129740">
                    <a:moveTo>
                      <a:pt x="468" y="517"/>
                    </a:moveTo>
                    <a:lnTo>
                      <a:pt x="130208" y="517"/>
                    </a:lnTo>
                    <a:lnTo>
                      <a:pt x="130208" y="130258"/>
                    </a:lnTo>
                    <a:lnTo>
                      <a:pt x="468" y="130258"/>
                    </a:lnTo>
                    <a:close/>
                  </a:path>
                </a:pathLst>
              </a:custGeom>
              <a:grpFill/>
              <a:ln w="47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7EA009E0-97BE-4F7F-A471-9133FCA3BAB5}"/>
                  </a:ext>
                </a:extLst>
              </p:cNvPr>
              <p:cNvSpPr/>
              <p:nvPr/>
            </p:nvSpPr>
            <p:spPr>
              <a:xfrm rot="-3498601">
                <a:off x="4646779" y="4145865"/>
                <a:ext cx="130727" cy="130727"/>
              </a:xfrm>
              <a:custGeom>
                <a:avLst/>
                <a:gdLst>
                  <a:gd name="connsiteX0" fmla="*/ 566 w 130727"/>
                  <a:gd name="connsiteY0" fmla="*/ 300 h 130727"/>
                  <a:gd name="connsiteX1" fmla="*/ 131294 w 130727"/>
                  <a:gd name="connsiteY1" fmla="*/ 300 h 130727"/>
                  <a:gd name="connsiteX2" fmla="*/ 131294 w 130727"/>
                  <a:gd name="connsiteY2" fmla="*/ 131027 h 130727"/>
                  <a:gd name="connsiteX3" fmla="*/ 566 w 130727"/>
                  <a:gd name="connsiteY3" fmla="*/ 131027 h 13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27" h="130727">
                    <a:moveTo>
                      <a:pt x="566" y="300"/>
                    </a:moveTo>
                    <a:lnTo>
                      <a:pt x="131294" y="300"/>
                    </a:lnTo>
                    <a:lnTo>
                      <a:pt x="131294" y="131027"/>
                    </a:lnTo>
                    <a:lnTo>
                      <a:pt x="566" y="131027"/>
                    </a:lnTo>
                    <a:close/>
                  </a:path>
                </a:pathLst>
              </a:custGeom>
              <a:grpFill/>
              <a:ln w="47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2DD8D02-1492-4A21-B424-57F31472ABA4}"/>
                  </a:ext>
                </a:extLst>
              </p:cNvPr>
              <p:cNvSpPr/>
              <p:nvPr/>
            </p:nvSpPr>
            <p:spPr>
              <a:xfrm rot="-330001">
                <a:off x="2161096" y="5607770"/>
                <a:ext cx="218592" cy="218592"/>
              </a:xfrm>
              <a:custGeom>
                <a:avLst/>
                <a:gdLst>
                  <a:gd name="connsiteX0" fmla="*/ 252 w 218592"/>
                  <a:gd name="connsiteY0" fmla="*/ 494 h 218592"/>
                  <a:gd name="connsiteX1" fmla="*/ 218845 w 218592"/>
                  <a:gd name="connsiteY1" fmla="*/ 494 h 218592"/>
                  <a:gd name="connsiteX2" fmla="*/ 218845 w 218592"/>
                  <a:gd name="connsiteY2" fmla="*/ 219086 h 218592"/>
                  <a:gd name="connsiteX3" fmla="*/ 252 w 218592"/>
                  <a:gd name="connsiteY3" fmla="*/ 219086 h 21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592" h="218592">
                    <a:moveTo>
                      <a:pt x="252" y="494"/>
                    </a:moveTo>
                    <a:lnTo>
                      <a:pt x="218845" y="494"/>
                    </a:lnTo>
                    <a:lnTo>
                      <a:pt x="218845" y="219086"/>
                    </a:lnTo>
                    <a:lnTo>
                      <a:pt x="252" y="219086"/>
                    </a:lnTo>
                    <a:close/>
                  </a:path>
                </a:pathLst>
              </a:custGeom>
              <a:grpFill/>
              <a:ln w="7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2C9D0383-A5A6-47A2-A34A-535DEDC8E49D}"/>
                  </a:ext>
                </a:extLst>
              </p:cNvPr>
              <p:cNvSpPr/>
              <p:nvPr/>
            </p:nvSpPr>
            <p:spPr>
              <a:xfrm rot="-538799">
                <a:off x="2375735" y="5608181"/>
                <a:ext cx="180018" cy="180018"/>
              </a:xfrm>
              <a:custGeom>
                <a:avLst/>
                <a:gdLst>
                  <a:gd name="connsiteX0" fmla="*/ 277 w 180018"/>
                  <a:gd name="connsiteY0" fmla="*/ 491 h 180018"/>
                  <a:gd name="connsiteX1" fmla="*/ 180296 w 180018"/>
                  <a:gd name="connsiteY1" fmla="*/ 491 h 180018"/>
                  <a:gd name="connsiteX2" fmla="*/ 180296 w 180018"/>
                  <a:gd name="connsiteY2" fmla="*/ 180509 h 180018"/>
                  <a:gd name="connsiteX3" fmla="*/ 277 w 180018"/>
                  <a:gd name="connsiteY3" fmla="*/ 180509 h 180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18" h="180018">
                    <a:moveTo>
                      <a:pt x="277" y="491"/>
                    </a:moveTo>
                    <a:lnTo>
                      <a:pt x="180296" y="491"/>
                    </a:lnTo>
                    <a:lnTo>
                      <a:pt x="180296" y="180509"/>
                    </a:lnTo>
                    <a:lnTo>
                      <a:pt x="277" y="180509"/>
                    </a:lnTo>
                    <a:close/>
                  </a:path>
                </a:pathLst>
              </a:custGeom>
              <a:grpFill/>
              <a:ln w="6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A9E578C-07CC-4F1F-ADCC-BC7FE863E3C2}"/>
                  </a:ext>
                </a:extLst>
              </p:cNvPr>
              <p:cNvSpPr/>
              <p:nvPr/>
            </p:nvSpPr>
            <p:spPr>
              <a:xfrm rot="-2161801">
                <a:off x="4122803" y="5520418"/>
                <a:ext cx="141442" cy="141442"/>
              </a:xfrm>
              <a:custGeom>
                <a:avLst/>
                <a:gdLst>
                  <a:gd name="connsiteX0" fmla="*/ 500 w 141442"/>
                  <a:gd name="connsiteY0" fmla="*/ 477 h 141442"/>
                  <a:gd name="connsiteX1" fmla="*/ 141943 w 141442"/>
                  <a:gd name="connsiteY1" fmla="*/ 477 h 141442"/>
                  <a:gd name="connsiteX2" fmla="*/ 141943 w 141442"/>
                  <a:gd name="connsiteY2" fmla="*/ 141920 h 141442"/>
                  <a:gd name="connsiteX3" fmla="*/ 500 w 141442"/>
                  <a:gd name="connsiteY3" fmla="*/ 141920 h 14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442" h="141442">
                    <a:moveTo>
                      <a:pt x="500" y="477"/>
                    </a:moveTo>
                    <a:lnTo>
                      <a:pt x="141943" y="477"/>
                    </a:lnTo>
                    <a:lnTo>
                      <a:pt x="141943" y="141920"/>
                    </a:lnTo>
                    <a:lnTo>
                      <a:pt x="500" y="141920"/>
                    </a:lnTo>
                    <a:close/>
                  </a:path>
                </a:pathLst>
              </a:custGeom>
              <a:grpFill/>
              <a:ln w="51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A116743C-387B-4344-906E-DF15B66DA850}"/>
                  </a:ext>
                </a:extLst>
              </p:cNvPr>
              <p:cNvSpPr/>
              <p:nvPr/>
            </p:nvSpPr>
            <p:spPr>
              <a:xfrm rot="-2817000">
                <a:off x="4422111" y="4809376"/>
                <a:ext cx="156444" cy="156444"/>
              </a:xfrm>
              <a:custGeom>
                <a:avLst/>
                <a:gdLst>
                  <a:gd name="connsiteX0" fmla="*/ 539 w 156444"/>
                  <a:gd name="connsiteY0" fmla="*/ 387 h 156444"/>
                  <a:gd name="connsiteX1" fmla="*/ 156984 w 156444"/>
                  <a:gd name="connsiteY1" fmla="*/ 387 h 156444"/>
                  <a:gd name="connsiteX2" fmla="*/ 156984 w 156444"/>
                  <a:gd name="connsiteY2" fmla="*/ 156831 h 156444"/>
                  <a:gd name="connsiteX3" fmla="*/ 539 w 156444"/>
                  <a:gd name="connsiteY3" fmla="*/ 156831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539" y="387"/>
                    </a:moveTo>
                    <a:lnTo>
                      <a:pt x="156984" y="387"/>
                    </a:lnTo>
                    <a:lnTo>
                      <a:pt x="156984" y="156831"/>
                    </a:lnTo>
                    <a:lnTo>
                      <a:pt x="539" y="156831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4C96AD3B-8BC1-4957-92A7-C3A13026D0C4}"/>
                  </a:ext>
                </a:extLst>
              </p:cNvPr>
              <p:cNvSpPr/>
              <p:nvPr/>
            </p:nvSpPr>
            <p:spPr>
              <a:xfrm rot="495600">
                <a:off x="1429956" y="5695849"/>
                <a:ext cx="102867" cy="102867"/>
              </a:xfrm>
              <a:custGeom>
                <a:avLst/>
                <a:gdLst>
                  <a:gd name="connsiteX0" fmla="*/ 151 w 102867"/>
                  <a:gd name="connsiteY0" fmla="*/ 497 h 102867"/>
                  <a:gd name="connsiteX1" fmla="*/ 103018 w 102867"/>
                  <a:gd name="connsiteY1" fmla="*/ 497 h 102867"/>
                  <a:gd name="connsiteX2" fmla="*/ 103018 w 102867"/>
                  <a:gd name="connsiteY2" fmla="*/ 103365 h 102867"/>
                  <a:gd name="connsiteX3" fmla="*/ 151 w 102867"/>
                  <a:gd name="connsiteY3" fmla="*/ 103365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51" y="497"/>
                    </a:moveTo>
                    <a:lnTo>
                      <a:pt x="103018" y="497"/>
                    </a:lnTo>
                    <a:lnTo>
                      <a:pt x="103018" y="103365"/>
                    </a:lnTo>
                    <a:lnTo>
                      <a:pt x="151" y="103365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46928450-1844-416C-811B-B82FC24EE2A8}"/>
                  </a:ext>
                </a:extLst>
              </p:cNvPr>
              <p:cNvSpPr/>
              <p:nvPr/>
            </p:nvSpPr>
            <p:spPr>
              <a:xfrm rot="-4904434">
                <a:off x="5414624" y="2964241"/>
                <a:ext cx="134263" cy="134263"/>
              </a:xfrm>
              <a:custGeom>
                <a:avLst/>
                <a:gdLst>
                  <a:gd name="connsiteX0" fmla="*/ 665 w 134263"/>
                  <a:gd name="connsiteY0" fmla="*/ 148 h 134263"/>
                  <a:gd name="connsiteX1" fmla="*/ 134929 w 134263"/>
                  <a:gd name="connsiteY1" fmla="*/ 148 h 134263"/>
                  <a:gd name="connsiteX2" fmla="*/ 134929 w 134263"/>
                  <a:gd name="connsiteY2" fmla="*/ 134411 h 134263"/>
                  <a:gd name="connsiteX3" fmla="*/ 665 w 134263"/>
                  <a:gd name="connsiteY3" fmla="*/ 134411 h 134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63" h="134263">
                    <a:moveTo>
                      <a:pt x="665" y="148"/>
                    </a:moveTo>
                    <a:lnTo>
                      <a:pt x="134929" y="148"/>
                    </a:lnTo>
                    <a:lnTo>
                      <a:pt x="134929" y="134411"/>
                    </a:lnTo>
                    <a:lnTo>
                      <a:pt x="665" y="134411"/>
                    </a:lnTo>
                    <a:close/>
                  </a:path>
                </a:pathLst>
              </a:custGeom>
              <a:grpFill/>
              <a:ln w="48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B971DCB-1C68-408B-87F0-7150C7212971}"/>
                  </a:ext>
                </a:extLst>
              </p:cNvPr>
              <p:cNvSpPr/>
              <p:nvPr/>
            </p:nvSpPr>
            <p:spPr>
              <a:xfrm rot="-3572067">
                <a:off x="4945618" y="4278938"/>
                <a:ext cx="42268" cy="42268"/>
              </a:xfrm>
              <a:custGeom>
                <a:avLst/>
                <a:gdLst>
                  <a:gd name="connsiteX0" fmla="*/ 599 w 42268"/>
                  <a:gd name="connsiteY0" fmla="*/ 311 h 42268"/>
                  <a:gd name="connsiteX1" fmla="*/ 42867 w 42268"/>
                  <a:gd name="connsiteY1" fmla="*/ 311 h 42268"/>
                  <a:gd name="connsiteX2" fmla="*/ 42867 w 42268"/>
                  <a:gd name="connsiteY2" fmla="*/ 42579 h 42268"/>
                  <a:gd name="connsiteX3" fmla="*/ 599 w 42268"/>
                  <a:gd name="connsiteY3" fmla="*/ 42579 h 42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68" h="42268">
                    <a:moveTo>
                      <a:pt x="599" y="311"/>
                    </a:moveTo>
                    <a:lnTo>
                      <a:pt x="42867" y="311"/>
                    </a:lnTo>
                    <a:lnTo>
                      <a:pt x="42867" y="42579"/>
                    </a:lnTo>
                    <a:lnTo>
                      <a:pt x="599" y="42579"/>
                    </a:ln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8959D04E-1913-4514-A2F0-AB937ECC88D4}"/>
                  </a:ext>
                </a:extLst>
              </p:cNvPr>
              <p:cNvSpPr/>
              <p:nvPr/>
            </p:nvSpPr>
            <p:spPr>
              <a:xfrm rot="337201">
                <a:off x="1471446" y="6104297"/>
                <a:ext cx="231452" cy="231452"/>
              </a:xfrm>
              <a:custGeom>
                <a:avLst/>
                <a:gdLst>
                  <a:gd name="connsiteX0" fmla="*/ 164 w 231452"/>
                  <a:gd name="connsiteY0" fmla="*/ 558 h 231452"/>
                  <a:gd name="connsiteX1" fmla="*/ 231617 w 231452"/>
                  <a:gd name="connsiteY1" fmla="*/ 558 h 231452"/>
                  <a:gd name="connsiteX2" fmla="*/ 231617 w 231452"/>
                  <a:gd name="connsiteY2" fmla="*/ 232011 h 231452"/>
                  <a:gd name="connsiteX3" fmla="*/ 164 w 231452"/>
                  <a:gd name="connsiteY3" fmla="*/ 232011 h 23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52" h="231452">
                    <a:moveTo>
                      <a:pt x="164" y="558"/>
                    </a:moveTo>
                    <a:lnTo>
                      <a:pt x="231617" y="558"/>
                    </a:lnTo>
                    <a:lnTo>
                      <a:pt x="231617" y="232011"/>
                    </a:lnTo>
                    <a:lnTo>
                      <a:pt x="164" y="232011"/>
                    </a:lnTo>
                    <a:close/>
                  </a:path>
                </a:pathLst>
              </a:custGeom>
              <a:grpFill/>
              <a:ln w="83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F635BE66-CE94-4DCD-9F7B-66F340E95228}"/>
                  </a:ext>
                </a:extLst>
              </p:cNvPr>
              <p:cNvSpPr/>
              <p:nvPr/>
            </p:nvSpPr>
            <p:spPr>
              <a:xfrm rot="193471">
                <a:off x="1650655" y="6013765"/>
                <a:ext cx="152399" cy="152399"/>
              </a:xfrm>
              <a:custGeom>
                <a:avLst/>
                <a:gdLst>
                  <a:gd name="connsiteX0" fmla="*/ 182 w 152399"/>
                  <a:gd name="connsiteY0" fmla="*/ 542 h 152399"/>
                  <a:gd name="connsiteX1" fmla="*/ 152582 w 152399"/>
                  <a:gd name="connsiteY1" fmla="*/ 542 h 152399"/>
                  <a:gd name="connsiteX2" fmla="*/ 152582 w 152399"/>
                  <a:gd name="connsiteY2" fmla="*/ 152941 h 152399"/>
                  <a:gd name="connsiteX3" fmla="*/ 182 w 152399"/>
                  <a:gd name="connsiteY3" fmla="*/ 152941 h 15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399" h="152399">
                    <a:moveTo>
                      <a:pt x="182" y="542"/>
                    </a:moveTo>
                    <a:lnTo>
                      <a:pt x="152582" y="542"/>
                    </a:lnTo>
                    <a:lnTo>
                      <a:pt x="152582" y="152941"/>
                    </a:lnTo>
                    <a:lnTo>
                      <a:pt x="182" y="152941"/>
                    </a:lnTo>
                    <a:close/>
                  </a:path>
                </a:pathLst>
              </a:custGeom>
              <a:grpFill/>
              <a:ln w="55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29C79D1-6829-4539-9B36-5E06243C7825}"/>
                  </a:ext>
                </a:extLst>
              </p:cNvPr>
              <p:cNvSpPr/>
              <p:nvPr/>
            </p:nvSpPr>
            <p:spPr>
              <a:xfrm rot="-5117400">
                <a:off x="5612336" y="2787758"/>
                <a:ext cx="64292" cy="64292"/>
              </a:xfrm>
              <a:custGeom>
                <a:avLst/>
                <a:gdLst>
                  <a:gd name="connsiteX0" fmla="*/ 686 w 64292"/>
                  <a:gd name="connsiteY0" fmla="*/ 121 h 64292"/>
                  <a:gd name="connsiteX1" fmla="*/ 64979 w 64292"/>
                  <a:gd name="connsiteY1" fmla="*/ 121 h 64292"/>
                  <a:gd name="connsiteX2" fmla="*/ 64979 w 64292"/>
                  <a:gd name="connsiteY2" fmla="*/ 64413 h 64292"/>
                  <a:gd name="connsiteX3" fmla="*/ 686 w 64292"/>
                  <a:gd name="connsiteY3" fmla="*/ 64413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686" y="121"/>
                    </a:moveTo>
                    <a:lnTo>
                      <a:pt x="64979" y="121"/>
                    </a:lnTo>
                    <a:lnTo>
                      <a:pt x="64979" y="64413"/>
                    </a:lnTo>
                    <a:lnTo>
                      <a:pt x="686" y="64413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15914605-51F9-4ABF-9C69-38BB78C3F72A}"/>
                  </a:ext>
                </a:extLst>
              </p:cNvPr>
              <p:cNvSpPr/>
              <p:nvPr/>
            </p:nvSpPr>
            <p:spPr>
              <a:xfrm rot="-723002">
                <a:off x="2644862" y="5822946"/>
                <a:ext cx="60006" cy="60006"/>
              </a:xfrm>
              <a:custGeom>
                <a:avLst/>
                <a:gdLst>
                  <a:gd name="connsiteX0" fmla="*/ 304 w 60006"/>
                  <a:gd name="connsiteY0" fmla="*/ 511 h 60006"/>
                  <a:gd name="connsiteX1" fmla="*/ 60310 w 60006"/>
                  <a:gd name="connsiteY1" fmla="*/ 511 h 60006"/>
                  <a:gd name="connsiteX2" fmla="*/ 60310 w 60006"/>
                  <a:gd name="connsiteY2" fmla="*/ 60517 h 60006"/>
                  <a:gd name="connsiteX3" fmla="*/ 304 w 60006"/>
                  <a:gd name="connsiteY3" fmla="*/ 60517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04" y="511"/>
                    </a:moveTo>
                    <a:lnTo>
                      <a:pt x="60310" y="511"/>
                    </a:lnTo>
                    <a:lnTo>
                      <a:pt x="60310" y="60517"/>
                    </a:lnTo>
                    <a:lnTo>
                      <a:pt x="304" y="60517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pic>
          <p:nvPicPr>
            <p:cNvPr id="167" name="Picture 16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F7FBF36A-0A1F-4779-AA0C-87AECBB5FE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23"/>
            <a:stretch/>
          </p:blipFill>
          <p:spPr>
            <a:xfrm>
              <a:off x="3212821" y="1478756"/>
              <a:ext cx="1084185" cy="1574152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0232298" y="608183"/>
            <a:ext cx="1355992" cy="565732"/>
            <a:chOff x="10232298" y="608183"/>
            <a:chExt cx="1355992" cy="565732"/>
          </a:xfrm>
        </p:grpSpPr>
        <p:sp>
          <p:nvSpPr>
            <p:cNvPr id="169" name="Freeform 8"/>
            <p:cNvSpPr>
              <a:spLocks/>
            </p:cNvSpPr>
            <p:nvPr userDrawn="1"/>
          </p:nvSpPr>
          <p:spPr bwMode="auto">
            <a:xfrm>
              <a:off x="11276945" y="616820"/>
              <a:ext cx="311345" cy="54413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0" name="Freeform 9"/>
            <p:cNvSpPr>
              <a:spLocks/>
            </p:cNvSpPr>
            <p:nvPr userDrawn="1"/>
          </p:nvSpPr>
          <p:spPr bwMode="auto">
            <a:xfrm>
              <a:off x="10838603" y="608183"/>
              <a:ext cx="385086" cy="565732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Rectangle 10"/>
            <p:cNvSpPr>
              <a:spLocks noChangeArrowheads="1"/>
            </p:cNvSpPr>
            <p:nvPr userDrawn="1"/>
          </p:nvSpPr>
          <p:spPr bwMode="auto">
            <a:xfrm>
              <a:off x="10666544" y="616820"/>
              <a:ext cx="126995" cy="5441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Freeform 11"/>
            <p:cNvSpPr>
              <a:spLocks/>
            </p:cNvSpPr>
            <p:nvPr userDrawn="1"/>
          </p:nvSpPr>
          <p:spPr bwMode="auto">
            <a:xfrm>
              <a:off x="10232298" y="616820"/>
              <a:ext cx="364601" cy="54413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Rectangle 12"/>
            <p:cNvSpPr>
              <a:spLocks noChangeArrowheads="1"/>
            </p:cNvSpPr>
            <p:nvPr userDrawn="1"/>
          </p:nvSpPr>
          <p:spPr bwMode="auto">
            <a:xfrm>
              <a:off x="11223689" y="828431"/>
              <a:ext cx="114707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4" name="Rectangle 13"/>
            <p:cNvSpPr>
              <a:spLocks noChangeArrowheads="1"/>
            </p:cNvSpPr>
            <p:nvPr userDrawn="1"/>
          </p:nvSpPr>
          <p:spPr bwMode="auto">
            <a:xfrm>
              <a:off x="10793538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5" name="Rectangle 14"/>
            <p:cNvSpPr>
              <a:spLocks noChangeArrowheads="1"/>
            </p:cNvSpPr>
            <p:nvPr userDrawn="1"/>
          </p:nvSpPr>
          <p:spPr bwMode="auto">
            <a:xfrm>
              <a:off x="10555932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66" name="Text Placeholder 5">
            <a:extLst>
              <a:ext uri="{FF2B5EF4-FFF2-40B4-BE49-F238E27FC236}">
                <a16:creationId xmlns:a16="http://schemas.microsoft.com/office/drawing/2014/main" id="{3E1F7E5C-CD89-4837-A69F-C1E0A960D5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401" y="4107460"/>
            <a:ext cx="5296889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9331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1117041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494229-95D3-40F9-A9B7-63975AE95FB7}"/>
              </a:ext>
            </a:extLst>
          </p:cNvPr>
          <p:cNvGrpSpPr/>
          <p:nvPr/>
        </p:nvGrpSpPr>
        <p:grpSpPr>
          <a:xfrm>
            <a:off x="10513655" y="5095852"/>
            <a:ext cx="1356446" cy="1133119"/>
            <a:chOff x="5310000" y="5306190"/>
            <a:chExt cx="1510747" cy="1262015"/>
          </a:xfr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</p:grpSpPr>
        <p:sp>
          <p:nvSpPr>
            <p:cNvPr id="7" name="Freeform: Shape 19746">
              <a:extLst>
                <a:ext uri="{FF2B5EF4-FFF2-40B4-BE49-F238E27FC236}">
                  <a16:creationId xmlns:a16="http://schemas.microsoft.com/office/drawing/2014/main" id="{5E33CF05-FBAE-49F6-8663-A57B2D1B729A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8" name="Freeform: Shape 19745">
              <a:extLst>
                <a:ext uri="{FF2B5EF4-FFF2-40B4-BE49-F238E27FC236}">
                  <a16:creationId xmlns:a16="http://schemas.microsoft.com/office/drawing/2014/main" id="{F5160838-0B64-444A-BAFB-D93D83B72E7F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9747">
              <a:extLst>
                <a:ext uri="{FF2B5EF4-FFF2-40B4-BE49-F238E27FC236}">
                  <a16:creationId xmlns:a16="http://schemas.microsoft.com/office/drawing/2014/main" id="{6BB3156E-8095-441E-AFC3-EB14312673FD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5" name="Freeform: Shape 19746">
            <a:extLst>
              <a:ext uri="{FF2B5EF4-FFF2-40B4-BE49-F238E27FC236}">
                <a16:creationId xmlns:a16="http://schemas.microsoft.com/office/drawing/2014/main" id="{E438854C-EA01-4A21-A15F-51E5BB8A589B}"/>
              </a:ext>
            </a:extLst>
          </p:cNvPr>
          <p:cNvSpPr/>
          <p:nvPr/>
        </p:nvSpPr>
        <p:spPr>
          <a:xfrm rot="10800000">
            <a:off x="11661909" y="0"/>
            <a:ext cx="208192" cy="5047378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aa-ET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361523D-0B9C-455E-BCE4-7DE6622909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766159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73000">
                <a:schemeClr val="accent6"/>
              </a:gs>
              <a:gs pos="0">
                <a:schemeClr val="accent1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1"/>
          </a:gradFill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BEEAC3-A917-4319-9BC5-0222B5A1184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9B2FF567-005F-4AB4-9E0C-916BF5297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05BEDE9-2BDA-4767-A6DA-AA7A44B3C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8571AA3E-D166-4330-8154-5F11F8D253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661C08E2-B488-4AC0-B47B-36B0152B6D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2366FB54-6131-4F69-B7F9-7034E9642F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7565310F-A041-4026-8D12-27D4D39FFE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8ECF7AD1-7227-432D-8492-E0A4D1B136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964D50D-DBD3-42F0-889B-F209F0E652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C344705-D366-4FD3-BC31-2F850CA79B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1898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5729150" y="5615822"/>
            <a:ext cx="742190" cy="1242177"/>
          </a:xfrm>
          <a:prstGeom prst="rect">
            <a:avLst/>
          </a:prstGeom>
          <a:solidFill>
            <a:schemeClr val="tx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100000">
                <a:schemeClr val="accent5"/>
              </a:gs>
              <a:gs pos="0">
                <a:schemeClr val="accent4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50C607-C84B-46CE-9892-78B2F0C04A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90F1B92-0075-489F-95CA-96D10C69CB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956825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BCF5F4-9017-45EE-9242-1776D36E0DFE}"/>
              </a:ext>
            </a:extLst>
          </p:cNvPr>
          <p:cNvSpPr/>
          <p:nvPr/>
        </p:nvSpPr>
        <p:spPr>
          <a:xfrm>
            <a:off x="0" y="0"/>
            <a:ext cx="42241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2451798"/>
            <a:ext cx="3596860" cy="392677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81610" rIns="0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799"/>
              </a:spcBef>
              <a:buNone/>
              <a:defRPr lang="en-US" sz="2131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7"/>
            <a:ext cx="3562568" cy="2101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713D65A-B504-4645-B17D-3AAC65715E80}"/>
              </a:ext>
            </a:extLst>
          </p:cNvPr>
          <p:cNvSpPr/>
          <p:nvPr/>
        </p:nvSpPr>
        <p:spPr>
          <a:xfrm>
            <a:off x="-66971" y="0"/>
            <a:ext cx="50577" cy="75249"/>
          </a:xfrm>
          <a:custGeom>
            <a:avLst/>
            <a:gdLst>
              <a:gd name="connsiteX0" fmla="*/ 0 w 50577"/>
              <a:gd name="connsiteY0" fmla="*/ 0 h 75249"/>
              <a:gd name="connsiteX1" fmla="*/ 50577 w 50577"/>
              <a:gd name="connsiteY1" fmla="*/ 0 h 75249"/>
              <a:gd name="connsiteX2" fmla="*/ 50577 w 50577"/>
              <a:gd name="connsiteY2" fmla="*/ 75249 h 75249"/>
              <a:gd name="connsiteX3" fmla="*/ 0 w 50577"/>
              <a:gd name="connsiteY3" fmla="*/ 0 h 7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77" h="75249">
                <a:moveTo>
                  <a:pt x="0" y="0"/>
                </a:moveTo>
                <a:lnTo>
                  <a:pt x="50577" y="0"/>
                </a:lnTo>
                <a:lnTo>
                  <a:pt x="50577" y="7524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836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5DA342-C7DC-463F-90DC-8711BCA44198}"/>
              </a:ext>
            </a:extLst>
          </p:cNvPr>
          <p:cNvSpPr/>
          <p:nvPr/>
        </p:nvSpPr>
        <p:spPr>
          <a:xfrm rot="10800000">
            <a:off x="4224129" y="-1"/>
            <a:ext cx="203015" cy="2451797"/>
          </a:xfrm>
          <a:prstGeom prst="rect">
            <a:avLst/>
          </a:prstGeom>
          <a:gradFill flip="none" rotWithShape="1">
            <a:gsLst>
              <a:gs pos="1000">
                <a:schemeClr val="accent5"/>
              </a:gs>
              <a:gs pos="64000">
                <a:schemeClr val="accent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33A401-99F2-4E3B-9C08-CB01A998D127}"/>
              </a:ext>
            </a:extLst>
          </p:cNvPr>
          <p:cNvSpPr/>
          <p:nvPr/>
        </p:nvSpPr>
        <p:spPr>
          <a:xfrm>
            <a:off x="4224130" y="2451798"/>
            <a:ext cx="203015" cy="4406201"/>
          </a:xfrm>
          <a:prstGeom prst="rect">
            <a:avLst/>
          </a:prstGeom>
          <a:gradFill>
            <a:gsLst>
              <a:gs pos="100000">
                <a:schemeClr val="accent3"/>
              </a:gs>
              <a:gs pos="59000">
                <a:schemeClr val="accent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6ADFEC4-9801-43ED-9197-FCAAA62915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1330" y="496958"/>
            <a:ext cx="7068846" cy="57994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851062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5884418-7B0E-4B35-8192-240892289F19}"/>
              </a:ext>
            </a:extLst>
          </p:cNvPr>
          <p:cNvSpPr/>
          <p:nvPr/>
        </p:nvSpPr>
        <p:spPr>
          <a:xfrm>
            <a:off x="6169396" y="0"/>
            <a:ext cx="6086294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91F9D0-532E-4D41-A7AD-3A75891BE73F}"/>
              </a:ext>
            </a:extLst>
          </p:cNvPr>
          <p:cNvSpPr/>
          <p:nvPr/>
        </p:nvSpPr>
        <p:spPr>
          <a:xfrm>
            <a:off x="-6775" y="0"/>
            <a:ext cx="61761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57202" y="182880"/>
            <a:ext cx="5446296" cy="1379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E3672C7-5C59-4D73-8BB8-D1AFC32E7E93}"/>
              </a:ext>
            </a:extLst>
          </p:cNvPr>
          <p:cNvGrpSpPr/>
          <p:nvPr/>
        </p:nvGrpSpPr>
        <p:grpSpPr>
          <a:xfrm>
            <a:off x="10315331" y="288545"/>
            <a:ext cx="1271081" cy="1061808"/>
            <a:chOff x="5310000" y="5306190"/>
            <a:chExt cx="1510747" cy="1262015"/>
          </a:xfrm>
          <a:solidFill>
            <a:schemeClr val="bg1"/>
          </a:solidFill>
        </p:grpSpPr>
        <p:sp>
          <p:nvSpPr>
            <p:cNvPr id="12" name="Freeform: Shape 19746">
              <a:extLst>
                <a:ext uri="{FF2B5EF4-FFF2-40B4-BE49-F238E27FC236}">
                  <a16:creationId xmlns:a16="http://schemas.microsoft.com/office/drawing/2014/main" id="{86C7F86F-C7DD-4657-A834-24BA1AAC009D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13" name="Freeform: Shape 19745">
              <a:extLst>
                <a:ext uri="{FF2B5EF4-FFF2-40B4-BE49-F238E27FC236}">
                  <a16:creationId xmlns:a16="http://schemas.microsoft.com/office/drawing/2014/main" id="{5A52638C-517B-410D-BA60-C229A968B867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4" name="Freeform: Shape 19747">
              <a:extLst>
                <a:ext uri="{FF2B5EF4-FFF2-40B4-BE49-F238E27FC236}">
                  <a16:creationId xmlns:a16="http://schemas.microsoft.com/office/drawing/2014/main" id="{5BF6CE50-AD37-4896-9A90-319A7E839C7B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46D32D-D5C0-49F7-B03B-16C2EF977F5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E5512A1-0A42-4573-9ABC-5906176C8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F59A0B3-3E7E-4F01-A719-4A16DD48B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56CC0C51-31E5-4EDB-9981-94223BEA43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EC0031DC-71AF-437D-BB0C-B48A17DAF9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96EBB07-FEA6-40AD-8651-8B5AA91F87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641A15F5-7E5E-4DDF-9CAA-CA94D6D3A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7AE8C9CA-D549-4700-801F-459E07D96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ECD2054-E6EB-44BE-8561-A52A3286E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0000" y="1560084"/>
            <a:ext cx="5586403" cy="4758128"/>
          </a:xfrm>
        </p:spPr>
        <p:txBody>
          <a:bodyPr lIns="0" rIns="0">
            <a:normAutofit/>
          </a:bodyPr>
          <a:lstStyle>
            <a:lvl1pPr marL="231775" indent="-231775">
              <a:buClr>
                <a:schemeClr val="bg2"/>
              </a:buClr>
              <a:defRPr lang="en-US" sz="2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0238" indent="-230188">
              <a:buClr>
                <a:schemeClr val="bg2"/>
              </a:buClr>
              <a:buFont typeface="Arial" panose="020B0604020202020204" pitchFamily="34" charset="0"/>
              <a:buNone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Clr>
                <a:schemeClr val="bg2"/>
              </a:buClr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bg2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2" y="1560084"/>
            <a:ext cx="5446296" cy="4758128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spcBef>
                <a:spcPts val="400"/>
              </a:spcBef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22821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092577B-34A8-4528-96AB-45F0AE416E4E}"/>
              </a:ext>
            </a:extLst>
          </p:cNvPr>
          <p:cNvSpPr/>
          <p:nvPr/>
        </p:nvSpPr>
        <p:spPr>
          <a:xfrm flipH="1">
            <a:off x="0" y="0"/>
            <a:ext cx="613202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69282" y="195494"/>
            <a:ext cx="5490673" cy="120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6BBAD063-808F-4812-8D9A-0CE891764B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2663" y="195494"/>
            <a:ext cx="3260993" cy="61991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48640" rIns="0" bIns="81610" numCol="1" anchor="t" anchorCtr="0" compatLnSpc="1">
            <a:prstTxWarp prst="textNoShape">
              <a:avLst/>
            </a:prstTxWarp>
            <a:normAutofit/>
          </a:bodyPr>
          <a:lstStyle>
            <a:lvl1pPr marL="231775" indent="-231775">
              <a:defRPr lang="en-US" sz="18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F58376-DDC6-4205-8510-A90172679D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11" r="14737"/>
          <a:stretch/>
        </p:blipFill>
        <p:spPr>
          <a:xfrm>
            <a:off x="9752921" y="0"/>
            <a:ext cx="2439079" cy="6858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00CE666-1B1D-48CF-8A56-8AE9F0A3C8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9281" y="1592494"/>
            <a:ext cx="5501441" cy="470394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721293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" name="Group 170">
            <a:extLst>
              <a:ext uri="{FF2B5EF4-FFF2-40B4-BE49-F238E27FC236}">
                <a16:creationId xmlns:a16="http://schemas.microsoft.com/office/drawing/2014/main" id="{D0A96EBA-8DE9-4E57-BE99-A582670A1B52}"/>
              </a:ext>
            </a:extLst>
          </p:cNvPr>
          <p:cNvGrpSpPr/>
          <p:nvPr/>
        </p:nvGrpSpPr>
        <p:grpSpPr>
          <a:xfrm>
            <a:off x="6266458" y="945009"/>
            <a:ext cx="4949810" cy="4442335"/>
            <a:chOff x="3084118" y="561546"/>
            <a:chExt cx="6346445" cy="5695781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392597A-B450-478E-A334-B2EFEDAEAD7C}"/>
                </a:ext>
              </a:extLst>
            </p:cNvPr>
            <p:cNvSpPr/>
            <p:nvPr/>
          </p:nvSpPr>
          <p:spPr>
            <a:xfrm>
              <a:off x="335761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9039230-A3E1-4496-B53B-E0BA3E1073C7}"/>
                </a:ext>
              </a:extLst>
            </p:cNvPr>
            <p:cNvSpPr/>
            <p:nvPr/>
          </p:nvSpPr>
          <p:spPr>
            <a:xfrm>
              <a:off x="554074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2BA96E19-AD6D-489B-8E4B-C3C71348D33C}"/>
                </a:ext>
              </a:extLst>
            </p:cNvPr>
            <p:cNvGrpSpPr/>
            <p:nvPr/>
          </p:nvGrpSpPr>
          <p:grpSpPr>
            <a:xfrm>
              <a:off x="3084118" y="561546"/>
              <a:ext cx="6346445" cy="5695781"/>
              <a:chOff x="3084118" y="561546"/>
              <a:chExt cx="6346445" cy="5695781"/>
            </a:xfrm>
            <a:grpFill/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30CC2E5-C54C-40E4-AAB4-FBD7F78A3B62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B9880EA9-BABF-4C2F-94F5-B8F5FC16B70C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A18928AA-7455-4CBD-B5D5-23E9CE55FC41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9238ED8E-32E6-45DE-AE6F-4994DD279C82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CE153DF5-9C73-4193-9938-71BA8110CEB3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63521810-7603-4AEF-8D35-1B8EFDE1852A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B66B83C3-F110-473D-A5FD-4C1412549DB7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5F98CF24-9D88-4B75-8B2D-759A40ED1200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543F9B47-DF2E-42ED-9138-5BA886A9D596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47E71046-EB56-4155-B88E-658A2A43E80E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7A882C7-423A-473E-A220-6C42DF91B2A6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12E42D99-4A92-4332-9221-322253B8C946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14CC9AB-41EA-4605-9960-B6CF96766CFF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BDF6BEF-98BB-4BAA-829F-BA7255957F72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3E9A026-8D33-4BE3-9552-50B400FF9358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5B94F6BB-688A-4BDA-B0A3-29E02C23D4BA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2248450A-1DA2-400F-A079-BA1C75018129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A4AE4F00-7AA9-42BF-869E-25B74758F8B5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2E21010-FAFB-4BEE-9B3C-E6152D60ACC8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C40E7274-30C0-4B25-ACB4-2A040CF608BC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60FB2D3E-CC08-4AB9-B208-8F4B091AC347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3995095F-46D2-436D-B729-0519288DBF69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2A9E6520-6451-4776-B071-F759870E5478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70A86A4-EDC3-48B1-AA06-C4B6AF49B89C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180BD0B8-76E4-49CF-8264-6DCEEE991089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8806581F-5EF6-490E-8045-91CD2AA9AA95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85DF4E72-DC10-440A-9CFB-A41D8D2A1FF8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CAFBC6E7-1DC0-48E4-84E4-959DBA58A6E7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B8C46F6B-5C82-4256-B21D-5F579E2A2C8C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0810AA04-6B26-45E1-8F64-94F73A21718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BAFE87CD-3310-4D17-83C3-7B5336B73660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897D57B-7D2E-4D00-8BF8-07421C00BF5F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E92F6A2-1788-48A3-BDB1-417FA267EE52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431F2F-713E-4C95-9B84-0A72DDC4546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2E164B41-0082-4894-A12F-EE2B74549F3D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91BF28A8-E069-482A-AB40-3E0F1C05B969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EDEA5E45-5B6B-4EAB-87DF-7C193FD53DBB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8513B30F-E6A6-4C4B-85DB-2C592B8AA93D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6715160A-EF95-4E04-9653-433E066D0C31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544E8AF1-BEF2-4638-9392-3F24F5F72FDD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0D11617E-A26F-4CFE-96A2-E51CE96696FF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C3A3D4BB-CAD1-4A5C-8C02-FFDB02D88061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DFB55E13-8A1F-4040-8901-890E3829BEDB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BF0EF92D-D186-4E03-93E5-8A4FFBE2FFEA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CEBD279-CD07-433A-8974-E42B6D0FC352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00D6BA2-B1C9-4077-A2D5-F3A1EC9CB332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A09F16E-1067-4446-A34D-E031F43D61E0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4BF907FC-656E-4E2E-973F-560001531914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FD86B75-631F-46E7-8446-EAA99E66AD7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3B5FD1BE-5516-4332-93BD-79238A76A5BD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2A937B8-4BFB-415F-8C67-1A22C142B6C5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9B7FEDFA-D118-4317-AB5E-0096B88B5F0F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E530E4CE-EC53-414B-9E76-EC7AC98E82EC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9D643BA5-1259-4E89-A005-4D718F755B76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41D553DB-82EC-4438-A4A2-FB7E892E98FC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7574EE5C-41EB-4EE5-B6C5-4B2AFA44B395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0D2AF9C1-3339-41ED-A1F4-8EF76D1307F5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7D189CA0-CD46-481D-A8CA-F5977F7E488F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A2920E8B-9E95-4B3E-B3EF-F8F17C7B00CE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97C18DCC-59F8-462A-8FC4-1A8F60573D5A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FB6F10BA-DF12-4002-9CF5-12736192AE4D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FA0D1AC6-CFB0-4649-9EB4-7BC8D4C7255D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AD2FA47C-60CF-40B4-8E0C-3743BA418CB3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29020F1-0D8A-42EC-8F88-1BA3EFDA4255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272332C1-5033-4BC1-8A6F-D7EC9E5F20C6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2E9C48C9-8C05-4836-919A-2AB0A31FB1C4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2638920-5FD2-41A1-9570-2ED880724131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8B709B65-1150-4F8D-A228-426CBBE0D2D5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522ED048-A985-452C-B554-5F59F76126E4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FE43C6E-7F67-4C5F-B7EF-C75EFA5C09DC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BFFE65CB-0EE8-434E-A38C-E37730D946C3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0A4119EC-A38D-45F7-B137-1EEEC4D4BBDB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A6611389-EF82-4F60-9A0A-CF702EEA7F32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C3C71C11-5CA6-49AD-AFDF-F43B84093A0C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2896DF24-8124-421F-A20E-896F91FAEEE9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7A007415-D3B0-42A5-9108-F9100C753692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33E5D287-A73C-4568-A9AE-F0624C76A868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9682F97-0182-4BB2-8C91-59C379F87D1F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CA3864DD-156E-40C3-87C2-E336D846F312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D361C41B-4F9B-4463-A9EC-86BBD536279E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4A3B7C1-B3C9-4E98-B040-BE641E5338C8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2DD37017-331C-46D1-85F4-263F40D0819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48F8FCB4-048C-44C9-A59E-40B7C016AEB9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F509C319-E75A-461A-9EF4-5F979E012783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51055179-F65F-40E3-BD37-9289D95417CF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5C045383-5B06-4F97-9270-B774DF73F7D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0457C8CC-6694-424C-90D7-4C1A039D2748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0455B1E2-4E70-4821-BAB1-9DA42720C46C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B3535FCF-EF4D-4003-A082-23C1F1CF90D4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E09D336B-C3BF-43B7-A303-69D79B3B8983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BB4AB861-2FFF-4D46-83D1-5DF57C41510B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8C4D6CEF-988B-4E26-BB03-07DF7B7E7AE1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935D0410-2EFA-4208-B50B-E747501D4933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34EE6A96-B624-4B2B-91BB-9E11E85E21AC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104ABD57-EEC0-4E44-B0EE-43D8F3F3D4E8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709EFF1D-7426-468F-9458-DAB864D65361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6648EA61-02A1-4166-8D51-A2A3310E8103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D413DA67-A49E-4C20-A46A-2774EFADC077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7E564E8-271B-4A16-B68B-FF93005A3301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BD7971DC-DC79-4FCE-84C1-EBAEA8D17ED5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56C127F8-ECE5-42F1-912F-7291B5FBA38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A784438E-9CF4-4E2D-AE2B-4FAFA347AF68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998A01BF-B276-4E4E-8242-6FA40217DA7A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5384A49B-2FA4-42AF-A424-F42091AA3785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36" name="Rectangle 25">
            <a:extLst>
              <a:ext uri="{FF2B5EF4-FFF2-40B4-BE49-F238E27FC236}">
                <a16:creationId xmlns:a16="http://schemas.microsoft.com/office/drawing/2014/main" id="{191168D8-5DD6-4A83-A994-F07ECC2CF99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947528"/>
            <a:ext cx="5097320" cy="460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</p:spTree>
    <p:extLst>
      <p:ext uri="{BB962C8B-B14F-4D97-AF65-F5344CB8AC3E}">
        <p14:creationId xmlns:p14="http://schemas.microsoft.com/office/powerpoint/2010/main" val="2698143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0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A8F04-DAAA-4FEB-87CF-101B286598C6}"/>
              </a:ext>
            </a:extLst>
          </p:cNvPr>
          <p:cNvGrpSpPr/>
          <p:nvPr/>
        </p:nvGrpSpPr>
        <p:grpSpPr>
          <a:xfrm>
            <a:off x="3499672" y="535062"/>
            <a:ext cx="6604448" cy="5787876"/>
            <a:chOff x="5032543" y="809464"/>
            <a:chExt cx="6559677" cy="574864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17AD5FD-56D3-4586-BA3F-BD521E2B0973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F308EF-F9D1-4656-998C-C1C4ABBE3968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3A59EE-D5DB-4C31-A21B-3138520E6ABF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5816FE3-4E1F-4B4F-BBD9-2948C016E55C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C29BD30-E391-4137-AD82-8A8154348AD5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67D8FD4-2A1C-4C7C-962D-ED9FFA4F852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72C0ED2-E7E4-48A0-BFB4-116631389044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7E85B6C-D1D5-4C45-8AD4-589138501A93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766DD56-CF3E-477D-BAAB-B1DA47E4A209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DE0E539-4180-4BC1-A41B-F0F96FE5E236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C1B129C-DEDB-4EA4-AF30-B7A17D45211A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05CFA3F1-78AC-4B02-B745-94A60CFA533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F389B547-7190-402F-9019-34EAE84BE3D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F1772A-FD12-4E2A-ACEF-6950F7FF6BE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17240C-A7F1-47EE-AE40-C8B302D3D668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C6E4BA76-6EEC-40AA-828F-61F3E02A933C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A69E9865-C093-46C2-9140-1223A816A48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65BAE56-D14A-425E-B11B-92C74522C374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7AE0B79-207E-4F58-B898-63A33DF27051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985FFDC-FA17-44E3-9ABC-859B3F5AFEAB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F40C4D51-2F44-4D46-B124-BB76B80F5373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3B4AE3F-06D1-40FE-9539-9CCAD51A542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840ABEA-D5D5-4764-A07D-DAA69228632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1907355"/>
            <a:ext cx="9821512" cy="273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359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87" t="17457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B644A6-FB65-4F2D-9F39-AA081BADE1AB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A9762C66-29D9-4250-9DD3-5BB32E79F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49277024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r="37370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671FD3D-580D-4557-970E-A7FD5A6B8074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06044200-8373-45DD-880D-9D71010A7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6755893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0" y="0"/>
            <a:ext cx="3242511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grpSp>
        <p:nvGrpSpPr>
          <p:cNvPr id="17" name="Graphic 6">
            <a:extLst>
              <a:ext uri="{FF2B5EF4-FFF2-40B4-BE49-F238E27FC236}">
                <a16:creationId xmlns:a16="http://schemas.microsoft.com/office/drawing/2014/main" id="{1E5A3F77-29C1-46A5-BBF3-B204477C4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27000">
                  <a:schemeClr val="accent1"/>
                </a:gs>
                <a:gs pos="100000">
                  <a:schemeClr val="accent6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15"/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6"/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52F10AF-C4E6-4F93-8528-4A2EEEF60A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tx1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750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 descr="A person riding a skateboard down a ramp&#10;&#10;Description automatically generated with low confidence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7" r="15501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AC1D19C-FA55-47FD-8BB7-A21A6901CF7E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4B303360-D8F7-46CC-A44F-126C7282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285149230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9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92872A-E22E-4699-A496-9ABB25EE5C62}"/>
              </a:ext>
            </a:extLst>
          </p:cNvPr>
          <p:cNvGrpSpPr/>
          <p:nvPr/>
        </p:nvGrpSpPr>
        <p:grpSpPr>
          <a:xfrm>
            <a:off x="289336" y="923164"/>
            <a:ext cx="6203564" cy="5222305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A5CF1CB-B1BE-4136-85C2-AC99402FF21D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F8F05B9-05C7-47E6-98C3-418DDEF21FE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27D2523-26C2-4F1B-88D0-75820F7F4849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BA1D92-5A51-4975-9C3E-2625BC7D630E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94DB63C2-163C-43CB-875E-BCA7B99ADDD5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C3FC48-E772-4600-9AAB-C1A75F63676A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058473F-1420-40BE-BF89-F9210B56B433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44DD5B1-7A63-475A-83AD-D6F1E7C62889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67F8214-FB4C-4639-9772-0D2A2818ED27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DAD0AD5-6CCC-4DDD-88C3-849C87975C2F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B230EBF-B9A0-4F09-A5C1-0EE5BA386570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2551738-0C2E-4672-9FE7-88FCE479CEF6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13A1D5B-D10B-44FC-BF17-B552702CBA7F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1A291327-9232-4D6C-8353-5E50726AE7F4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7B1180C-7AEC-46E7-AF69-7CC2FA6897DF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8F9A3AA-CB2B-4A16-A1BF-2203916B7D67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8CE8EECB-C226-4FAA-86DD-341592D123B4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DFBF959-738D-4B75-A042-14246D775C2F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D9965B0-BFE0-44C7-A31B-005AF18ACFF2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E3A52171-E34C-45E5-963B-4018E4A68911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F7B9476-7A53-40B1-A321-61004DAC670C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76E5A7-D3D8-4443-A499-4265ABA0D53A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0B578F3-53FC-449C-8B05-A25ABD7018E6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2EACFDF-095B-4070-B5F6-1B0804B58BF4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2D4AD8C-8580-4ABC-9ADC-8EC48B46367C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DFCA5BE-89FA-4CBC-814A-87B29A15FC7A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C05F10F5-7D1B-4131-8EE9-301931FE4A81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8E42534-6DFF-4833-A471-13439A30AB43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62DC4D1-1269-4A01-826B-EEB39632BA0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5E8E35C-7EC3-4BC2-BCFA-DB54C636C2DF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D90EC42-605C-43D7-973D-586364E74887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6BADD4A0-23E0-4E63-8712-BBC93C0F51DB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5A2E19E-7C6F-417F-A008-D9B90DFBBE71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06EAB4D-04FE-40A4-9E42-73F52D6F8023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F5D7D14-25ED-4FB5-B61F-B9AD1598EC7C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E39BEAE-2659-4440-92EE-962565063BED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1882B23-6E5A-417C-B7AF-0D0335A1218B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7B4EADD-9677-4D2B-A418-84FA06E166FD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5ACF692-AD04-4EB8-ADC1-CA36A647B7B0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64C2F88F-2F2D-4C8E-8DE2-7E7C60E7BD6C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D7E1F24-D190-4E13-8FAC-E0D87E96DFB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8931BD42-98E6-4878-83E5-1C54FC0897D9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D80D37C-C7FC-4295-BCB7-66E1B59FCD5B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40ED8E48-E8D6-4356-80CC-6D8BF66CEE97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19E9C320-9211-41DF-B03C-E8907C60D5E6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B208FE6-FE81-4454-9905-4E48871DC28B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166B8E0-B5CE-463A-A30C-C9860C94CD03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ADC393C-36C9-4FCA-8354-0F05E562738B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B4460F3-B8E2-40AF-895C-B5C34CEC8DE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1955E274-8C66-4DC8-92D3-9070CB435161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16BE0BB-875D-4D08-B891-D48236C694A4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3194BD5-4695-473F-B376-E067D912E6DA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AFDA293-8918-4A39-A2F4-DE48542966E2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A734927-3EED-46AC-B781-AD8E5018826A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9E4B6B-064A-41A3-9DDE-75BEDCC8812B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92F9063E-4707-4794-9D0E-7ED9D26C0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17268" y="595215"/>
            <a:ext cx="5198638" cy="5550254"/>
          </a:xfrm>
        </p:spPr>
        <p:txBody>
          <a:bodyPr/>
          <a:lstStyle>
            <a:lvl1pPr marL="342900" marR="0" indent="-342900" algn="l" defTabSz="9419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en-US" sz="213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29368" y="1919257"/>
            <a:ext cx="4195188" cy="31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FAA3BA-0EA5-4436-B8CA-2302D0849288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34307B6-D4CB-4715-BBD3-1DFEEEF37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87B912DF-E7E1-42D0-87F2-244F71A44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5" name="Rectangle 10">
              <a:extLst>
                <a:ext uri="{FF2B5EF4-FFF2-40B4-BE49-F238E27FC236}">
                  <a16:creationId xmlns:a16="http://schemas.microsoft.com/office/drawing/2014/main" id="{B4E21140-18ED-45A0-8C03-550BAE99A7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8C00BC4-55D7-403A-AEE3-45112DE35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Rectangle 12">
              <a:extLst>
                <a:ext uri="{FF2B5EF4-FFF2-40B4-BE49-F238E27FC236}">
                  <a16:creationId xmlns:a16="http://schemas.microsoft.com/office/drawing/2014/main" id="{49587CAC-F489-460A-A3BA-EA93575A34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Rectangle 13">
              <a:extLst>
                <a:ext uri="{FF2B5EF4-FFF2-40B4-BE49-F238E27FC236}">
                  <a16:creationId xmlns:a16="http://schemas.microsoft.com/office/drawing/2014/main" id="{0C93F0BD-F7A4-435A-BF72-23B32A5DC4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9" name="Rectangle 14">
              <a:extLst>
                <a:ext uri="{FF2B5EF4-FFF2-40B4-BE49-F238E27FC236}">
                  <a16:creationId xmlns:a16="http://schemas.microsoft.com/office/drawing/2014/main" id="{4A02A443-F935-4A5E-9B31-E0D1007D62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30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4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196651-BC66-446C-AED3-8BCCC153CBB6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A1DB9B3-2186-4DFE-9DFB-EEB5D9776B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052EEAF-F828-4276-BDE3-EC16EAEB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12694FAC-CBE6-457C-8458-D614D6872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4983321-6360-455B-B9E7-728EFF560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888BDF00-ED5B-4E00-9422-C469642201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24FF870B-6323-4E50-B943-E44905E9FB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C86AA52C-B69B-4644-A9A2-32A008C292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B467462-6235-43C2-BD2F-FB20D6DC9D10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09E3127D-A4E6-49BF-A0CB-FCB226196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9D5B0A7B-4382-46F0-B66E-1314B5DB6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id="{74E79E91-2D38-497A-82BD-D6F94BFFAC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BE257014-7354-4207-9716-24DA20B6D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2">
              <a:extLst>
                <a:ext uri="{FF2B5EF4-FFF2-40B4-BE49-F238E27FC236}">
                  <a16:creationId xmlns:a16="http://schemas.microsoft.com/office/drawing/2014/main" id="{7DFB285E-AA7F-4448-B778-82B2E8FEB9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0DC60978-90B0-4628-966B-EBDEE23E0B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8B9EEC1C-2BA0-4D80-BC1D-BD4B152EBB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1" y="0"/>
            <a:ext cx="10828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aa-ET"/>
          </a:p>
        </p:txBody>
      </p:sp>
      <p:sp>
        <p:nvSpPr>
          <p:cNvPr id="71" name="Title 9">
            <a:extLst>
              <a:ext uri="{FF2B5EF4-FFF2-40B4-BE49-F238E27FC236}">
                <a16:creationId xmlns:a16="http://schemas.microsoft.com/office/drawing/2014/main" id="{A1DDE33F-BC80-4C41-AFF1-5F2093232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A4DEE69-655D-4E3F-B03F-0D5999F257D6}"/>
              </a:ext>
            </a:extLst>
          </p:cNvPr>
          <p:cNvGrpSpPr/>
          <p:nvPr/>
        </p:nvGrpSpPr>
        <p:grpSpPr>
          <a:xfrm>
            <a:off x="7730159" y="3473856"/>
            <a:ext cx="3448526" cy="2903050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09C496B-9A23-494D-B7EE-0734DFEFF4FF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B17F23C-FA6B-407C-BE06-3F67C321196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1B1E7E6-B647-4216-964F-C1CDFE2DE032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6EF05E-F45E-446C-BA76-5CB76B9CC44F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9B64B5-82B2-40AB-AF79-8A2621171631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CA9F3F-3BB7-467D-82A5-850FD3042D84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105EF-EDA6-4DF7-B9AC-5BC56C3994A4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3D7117E-4217-437F-8A1D-A4540336A717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44D942-919E-4DFB-B050-B77C479FF884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B2ED678-7E61-4F0B-84FC-B527EEDB0C67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BF197F-88C8-4509-97F8-177DCA8B1BEA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884DD33-AB55-4F1A-B121-71951981E1FC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F9AA5DB-A869-4DA4-8ABC-70ABDEA7B744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72FB699-5051-448D-8C3C-58F426159043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3B96DB4-E8FC-4A37-88E3-32BF5C6B0293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DCD4FEF-8517-4D5E-BB84-24F3191DF2BE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D88F79F-5B7B-4242-ABEE-245355AEBC77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0BE5799-97FC-4B83-8805-87A2B765638C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6D2FC9-F687-4856-9226-7448DEDBF19E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AE918E-4014-44C5-B9D0-74785C4C2A09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8576D03-27F1-4CBD-8A69-B21B9D54FB57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6AC3575-1C44-43FD-87A3-CDA6C2CFE3A2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3BD0713-A175-464D-B764-F99E96025171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F9F70C4-C576-4D36-B181-0563E857D39D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FE73BB8-49AB-489A-BE12-F8AD67692441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79C433-2154-4D2A-A354-E8E1F5EBF2C6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C6CCE9-8205-451D-8EFC-740216CE7E58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149CECA-3DF1-4AB9-B770-785F86BBDB6F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CC5E19F-7529-480F-A5D6-A5DF9573F4C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EBD65FF-77A1-4F0D-913B-18F57EE95297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3B89B1-4E0B-4670-8505-EFFECC3CCC8D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9F33C01-28E7-45DC-9C65-6FFB64AF2E69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F4CA857-E064-4587-A338-45B8AAFF19BA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AB29CF5-E7E5-4970-AC14-64118D8F708B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D0D71F8-DC59-41A0-9057-11F691C0BC57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CED1C1E-3D89-46EE-9C4D-DDA31BC7C3A6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84217E2-23E3-4FA8-9EB6-9B205C7A2857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6AA75D4-0F15-444B-9585-F39BEE5147BF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D0C9CA2-0002-428C-A4F8-FD48B797E21E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B03E249-A622-4690-A00A-5B5D7D8665BE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2A57C7C-6646-40D9-BFE1-0A953431EB0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8C803A7-5A0D-40A9-999C-D41F1F36980F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4B54090-BA56-437E-8446-FD12D8049733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467ABE1-B7A3-452D-A452-4850B2F35A4A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74765A9-F48C-4BE9-ACC2-1E1D2ECB1F3F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BDF7EC2-80C0-4E8C-8A72-52322897A769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B511830-FB56-44DC-AA52-E208148C460C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C47E99-7000-4087-89A9-8DE022CB0421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B42350E-E940-4A53-8975-89FB0F33191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B6AB620-9586-419C-867C-35AEB8AA6995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6F68204-8F48-4392-8DD7-66811E08F386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F30C4EB-8027-4229-B232-28B751B409D5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1C874C4-1724-4B56-8FDE-DC858BCABC07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B9DD2BE-C90E-476C-967F-22F60F1D6053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175B4C5-EAB8-4200-9778-A08122865D5E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1" name="Text Placeholder 4">
            <a:extLst>
              <a:ext uri="{FF2B5EF4-FFF2-40B4-BE49-F238E27FC236}">
                <a16:creationId xmlns:a16="http://schemas.microsoft.com/office/drawing/2014/main" id="{0FEDAD22-50AD-4760-8D29-B11D207584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4631" y="688756"/>
            <a:ext cx="6220336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267069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1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2186E2-90AF-450B-942F-E5C1A2651822}"/>
              </a:ext>
            </a:extLst>
          </p:cNvPr>
          <p:cNvGrpSpPr/>
          <p:nvPr/>
        </p:nvGrpSpPr>
        <p:grpSpPr>
          <a:xfrm>
            <a:off x="11216268" y="6437490"/>
            <a:ext cx="550320" cy="215526"/>
            <a:chOff x="11216268" y="6437490"/>
            <a:chExt cx="550320" cy="21552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1196651-BC66-446C-AED3-8BCCC153CBB6}"/>
                </a:ext>
              </a:extLst>
            </p:cNvPr>
            <p:cNvGrpSpPr/>
            <p:nvPr userDrawn="1"/>
          </p:nvGrpSpPr>
          <p:grpSpPr>
            <a:xfrm>
              <a:off x="11216268" y="6439360"/>
              <a:ext cx="549385" cy="213656"/>
              <a:chOff x="17092245" y="9730154"/>
              <a:chExt cx="833634" cy="356946"/>
            </a:xfrm>
          </p:grpSpPr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AA1DB9B3-2186-4DFE-9DFB-EEB5D9776B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F052EEAF-F828-4276-BDE3-EC16EAEB5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4" name="Rectangle 10">
                <a:extLst>
                  <a:ext uri="{FF2B5EF4-FFF2-40B4-BE49-F238E27FC236}">
                    <a16:creationId xmlns:a16="http://schemas.microsoft.com/office/drawing/2014/main" id="{12694FAC-CBE6-457C-8458-D614D68728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A4983321-6360-455B-B9E7-728EFF560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888BDF00-ED5B-4E00-9422-C469642201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7" name="Rectangle 13">
                <a:extLst>
                  <a:ext uri="{FF2B5EF4-FFF2-40B4-BE49-F238E27FC236}">
                    <a16:creationId xmlns:a16="http://schemas.microsoft.com/office/drawing/2014/main" id="{24FF870B-6323-4E50-B943-E44905E9FB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8" name="Rectangle 14">
                <a:extLst>
                  <a:ext uri="{FF2B5EF4-FFF2-40B4-BE49-F238E27FC236}">
                    <a16:creationId xmlns:a16="http://schemas.microsoft.com/office/drawing/2014/main" id="{C86AA52C-B69B-4644-A9A2-32A008C292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B467462-6235-43C2-BD2F-FB20D6DC9D10}"/>
                </a:ext>
              </a:extLst>
            </p:cNvPr>
            <p:cNvGrpSpPr/>
            <p:nvPr userDrawn="1"/>
          </p:nvGrpSpPr>
          <p:grpSpPr>
            <a:xfrm>
              <a:off x="11217203" y="6437490"/>
              <a:ext cx="549385" cy="213656"/>
              <a:chOff x="17092245" y="9730154"/>
              <a:chExt cx="833634" cy="356946"/>
            </a:xfrm>
          </p:grpSpPr>
          <p:sp>
            <p:nvSpPr>
              <p:cNvPr id="39" name="Freeform 8">
                <a:extLst>
                  <a:ext uri="{FF2B5EF4-FFF2-40B4-BE49-F238E27FC236}">
                    <a16:creationId xmlns:a16="http://schemas.microsoft.com/office/drawing/2014/main" id="{09E3127D-A4E6-49BF-A0CB-FCB226196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" name="Freeform 9">
                <a:extLst>
                  <a:ext uri="{FF2B5EF4-FFF2-40B4-BE49-F238E27FC236}">
                    <a16:creationId xmlns:a16="http://schemas.microsoft.com/office/drawing/2014/main" id="{9D5B0A7B-4382-46F0-B66E-1314B5DB6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2" name="Rectangle 10">
                <a:extLst>
                  <a:ext uri="{FF2B5EF4-FFF2-40B4-BE49-F238E27FC236}">
                    <a16:creationId xmlns:a16="http://schemas.microsoft.com/office/drawing/2014/main" id="{74E79E91-2D38-497A-82BD-D6F94BFFAC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BE257014-7354-4207-9716-24DA20B6D6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4" name="Rectangle 12">
                <a:extLst>
                  <a:ext uri="{FF2B5EF4-FFF2-40B4-BE49-F238E27FC236}">
                    <a16:creationId xmlns:a16="http://schemas.microsoft.com/office/drawing/2014/main" id="{7DFB285E-AA7F-4448-B778-82B2E8FEB9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5" name="Rectangle 13">
                <a:extLst>
                  <a:ext uri="{FF2B5EF4-FFF2-40B4-BE49-F238E27FC236}">
                    <a16:creationId xmlns:a16="http://schemas.microsoft.com/office/drawing/2014/main" id="{0DC60978-90B0-4628-966B-EBDEE23E0B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6" name="Rectangle 14">
                <a:extLst>
                  <a:ext uri="{FF2B5EF4-FFF2-40B4-BE49-F238E27FC236}">
                    <a16:creationId xmlns:a16="http://schemas.microsoft.com/office/drawing/2014/main" id="{8B9EEC1C-2BA0-4D80-BC1D-BD4B152EBB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5FDA843-E23B-43EB-AC0D-0EE8D898A1DF}"/>
              </a:ext>
            </a:extLst>
          </p:cNvPr>
          <p:cNvGrpSpPr/>
          <p:nvPr/>
        </p:nvGrpSpPr>
        <p:grpSpPr>
          <a:xfrm>
            <a:off x="7935453" y="3524250"/>
            <a:ext cx="3199272" cy="2803715"/>
            <a:chOff x="5032543" y="809464"/>
            <a:chExt cx="6559677" cy="5748641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9FBA752-4976-47A3-B787-00EE5B69C097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03560F-BB21-4A9D-9B97-F3C3C8A55BC0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34CDF49-213C-4DB1-913C-B8349BD1BC6E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0E02D17A-A0A2-4354-839F-346E6A786E8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383526B-0B69-448D-9A11-5C72B4C2FA87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9650CA1-40C6-47CE-8B5B-26FC271724AB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06D3847-27FB-422F-BB85-DA4E747E79CE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0B5CE0A-C2AF-493F-9F6A-8DC4DA12BC0C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7A9DCF7-21F2-41B3-A193-997F2AEB4723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82B96EB-B78E-446A-B16E-202628115552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C783232-08ED-4A98-B933-C82A0F48F64F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D221045-316C-4A7E-B729-1371BAD95109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347530ED-0591-4AFD-8DA1-257EBA2ED710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5D0DF7A-8AF5-46AA-8D29-55AE6665EBCD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EC7F2382-641D-4405-AC5E-07AF1AC70C5A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3FE957F-2CB8-409A-9268-289D8252413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A759479-843C-45DD-AADF-F8CEF4187B9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848086D-4520-474D-B7A3-DCCF4139E507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04F8494-7F5E-4561-9ED8-786181FD8A36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6743A73-F715-4AA4-B53C-403BF149CB64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085CA53-356D-4D68-B0F7-FDC53F7D7DAD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B876BCF-6F0A-4427-8D7D-65E8E28FA72C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78A5498A-4BF7-4997-947D-6689200371B7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0" y="0"/>
            <a:ext cx="3892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2" name="Title 9">
            <a:extLst>
              <a:ext uri="{FF2B5EF4-FFF2-40B4-BE49-F238E27FC236}">
                <a16:creationId xmlns:a16="http://schemas.microsoft.com/office/drawing/2014/main" id="{5B951409-D28C-49E7-BA8B-F5B8503A2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F18D17DC-E358-4843-A7F9-9D3DB02620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6057851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22071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223E80-E1BB-4B6B-986F-66D36F9C9539}"/>
              </a:ext>
            </a:extLst>
          </p:cNvPr>
          <p:cNvSpPr/>
          <p:nvPr/>
        </p:nvSpPr>
        <p:spPr>
          <a:xfrm>
            <a:off x="6537278" y="0"/>
            <a:ext cx="5718412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809EBFA-02D4-4F2B-9D23-BE50FC86C483}"/>
              </a:ext>
            </a:extLst>
          </p:cNvPr>
          <p:cNvSpPr txBox="1">
            <a:spLocks/>
          </p:cNvSpPr>
          <p:nvPr/>
        </p:nvSpPr>
        <p:spPr bwMode="auto">
          <a:xfrm>
            <a:off x="6656439" y="1221469"/>
            <a:ext cx="5523531" cy="4614124"/>
          </a:xfrm>
          <a:custGeom>
            <a:avLst/>
            <a:gdLst>
              <a:gd name="connsiteX0" fmla="*/ 4707190 w 5523531"/>
              <a:gd name="connsiteY0" fmla="*/ 0 h 4614124"/>
              <a:gd name="connsiteX1" fmla="*/ 5523530 w 5523531"/>
              <a:gd name="connsiteY1" fmla="*/ 0 h 4614124"/>
              <a:gd name="connsiteX2" fmla="*/ 5523530 w 5523531"/>
              <a:gd name="connsiteY2" fmla="*/ 729022 h 4614124"/>
              <a:gd name="connsiteX3" fmla="*/ 5271924 w 5523531"/>
              <a:gd name="connsiteY3" fmla="*/ 2107230 h 4614124"/>
              <a:gd name="connsiteX4" fmla="*/ 268583 w 5523531"/>
              <a:gd name="connsiteY4" fmla="*/ 4361476 h 4614124"/>
              <a:gd name="connsiteX5" fmla="*/ 259590 w 5523531"/>
              <a:gd name="connsiteY5" fmla="*/ 4358052 h 4614124"/>
              <a:gd name="connsiteX6" fmla="*/ 28125 w 5523531"/>
              <a:gd name="connsiteY6" fmla="*/ 3829296 h 4614124"/>
              <a:gd name="connsiteX7" fmla="*/ 556960 w 5523531"/>
              <a:gd name="connsiteY7" fmla="*/ 3597831 h 4614124"/>
              <a:gd name="connsiteX8" fmla="*/ 1641542 w 5523531"/>
              <a:gd name="connsiteY8" fmla="*/ 3794670 h 4614124"/>
              <a:gd name="connsiteX9" fmla="*/ 4707190 w 5523531"/>
              <a:gd name="connsiteY9" fmla="*/ 729022 h 4614124"/>
              <a:gd name="connsiteX10" fmla="*/ 4707190 w 5523531"/>
              <a:gd name="connsiteY10" fmla="*/ 0 h 4614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23531" h="4614124">
                <a:moveTo>
                  <a:pt x="4707190" y="0"/>
                </a:moveTo>
                <a:lnTo>
                  <a:pt x="5523530" y="0"/>
                </a:lnTo>
                <a:lnTo>
                  <a:pt x="5523530" y="729022"/>
                </a:lnTo>
                <a:cubicBezTo>
                  <a:pt x="5524006" y="1199914"/>
                  <a:pt x="5438681" y="1666903"/>
                  <a:pt x="5271924" y="2107230"/>
                </a:cubicBezTo>
                <a:cubicBezTo>
                  <a:pt x="4512817" y="4111384"/>
                  <a:pt x="2272740" y="5120586"/>
                  <a:pt x="268583" y="4361476"/>
                </a:cubicBezTo>
                <a:cubicBezTo>
                  <a:pt x="265559" y="4360362"/>
                  <a:pt x="262614" y="4359248"/>
                  <a:pt x="259590" y="4358052"/>
                </a:cubicBezTo>
                <a:cubicBezTo>
                  <a:pt x="49693" y="4275989"/>
                  <a:pt x="-53941" y="4039193"/>
                  <a:pt x="28125" y="3829296"/>
                </a:cubicBezTo>
                <a:cubicBezTo>
                  <a:pt x="110264" y="3619320"/>
                  <a:pt x="346987" y="3515685"/>
                  <a:pt x="556960" y="3597831"/>
                </a:cubicBezTo>
                <a:cubicBezTo>
                  <a:pt x="903601" y="3728606"/>
                  <a:pt x="1271099" y="3795308"/>
                  <a:pt x="1641542" y="3794670"/>
                </a:cubicBezTo>
                <a:cubicBezTo>
                  <a:pt x="3331924" y="3794670"/>
                  <a:pt x="4707190" y="2419406"/>
                  <a:pt x="4707190" y="729022"/>
                </a:cubicBezTo>
                <a:lnTo>
                  <a:pt x="470719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he-IL"/>
            </a:defPPr>
            <a:lvl1pPr marL="298299" indent="-298299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4390" indent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5747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/>
            </a:lvl3pPr>
            <a:lvl4pPr marL="960976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</a:lvl4pPr>
            <a:lvl5pPr marL="1176202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</a:lvl5pPr>
            <a:lvl6pPr marL="298911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6pPr>
            <a:lvl7pPr marL="353258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7pPr>
            <a:lvl8pPr marL="4076062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8pPr>
            <a:lvl9pPr marL="4619536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9pPr>
          </a:lstStyle>
          <a:p>
            <a:pPr lvl="0"/>
            <a:endParaRPr lang="en-US"/>
          </a:p>
        </p:txBody>
      </p:sp>
      <p:sp>
        <p:nvSpPr>
          <p:cNvPr id="22" name="Freeform: Shape 28">
            <a:extLst>
              <a:ext uri="{FF2B5EF4-FFF2-40B4-BE49-F238E27FC236}">
                <a16:creationId xmlns:a16="http://schemas.microsoft.com/office/drawing/2014/main" id="{DC6FC4A7-D0FE-46DC-8B70-EEE29D7FDCEA}"/>
              </a:ext>
            </a:extLst>
          </p:cNvPr>
          <p:cNvSpPr txBox="1">
            <a:spLocks/>
          </p:cNvSpPr>
          <p:nvPr/>
        </p:nvSpPr>
        <p:spPr bwMode="auto">
          <a:xfrm>
            <a:off x="9026074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EB1C7077-265B-49B9-B1A0-9589DB496550}"/>
              </a:ext>
            </a:extLst>
          </p:cNvPr>
          <p:cNvSpPr txBox="1">
            <a:spLocks/>
          </p:cNvSpPr>
          <p:nvPr/>
        </p:nvSpPr>
        <p:spPr bwMode="auto">
          <a:xfrm>
            <a:off x="7279160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C5E0FE-AF6B-4551-95A6-1EDF35B25547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1217203" y="6437490"/>
            <a:chExt cx="549385" cy="213656"/>
          </a:xfrm>
        </p:grpSpPr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22E8AE3B-D37C-40A7-9D29-ABF15EEE1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0445" y="644075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B5B1285-4443-4269-8F15-974F41889B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2850" y="643749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Rectangle 10">
              <a:extLst>
                <a:ext uri="{FF2B5EF4-FFF2-40B4-BE49-F238E27FC236}">
                  <a16:creationId xmlns:a16="http://schemas.microsoft.com/office/drawing/2014/main" id="{18EBF795-80B3-4A8B-88F1-FD4AA16031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3139" y="644075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58DA696A-B0E7-440E-9C4F-C5ACA80BB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03" y="644075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87CC95A9-C7DF-4742-A3D0-6631D844B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070251C9-8CF1-4F3B-8A9B-1432AD366C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4" name="Rectangle 12">
              <a:extLst>
                <a:ext uri="{FF2B5EF4-FFF2-40B4-BE49-F238E27FC236}">
                  <a16:creationId xmlns:a16="http://schemas.microsoft.com/office/drawing/2014/main" id="{9EA70F76-7543-4D86-ADF2-004BF5226D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8868" y="6520669"/>
              <a:ext cx="4647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D526F8E-A36C-4FCB-8F62-B7A39AE089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5903213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A1EE91-9FC0-4FC6-A51E-911E1BE32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3631" y="1699147"/>
            <a:ext cx="4253572" cy="358936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902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5455C5A-7C5D-4CFC-A71C-CDAC9D4EA5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607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8C0908D-B55B-4B4B-BAB0-A218E0E445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3474" y="384902"/>
            <a:ext cx="5995126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Secon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87E380-53EE-4AAC-AC7D-BC5B234AB7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3474" y="3603694"/>
            <a:ext cx="11180896" cy="2734781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495527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A561D63-05EE-469C-B010-233F51458CAD}"/>
              </a:ext>
            </a:extLst>
          </p:cNvPr>
          <p:cNvSpPr/>
          <p:nvPr/>
        </p:nvSpPr>
        <p:spPr>
          <a:xfrm>
            <a:off x="0" y="0"/>
            <a:ext cx="44855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DD8832-0189-451B-B701-202EDF2903A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5469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136133D-E674-4395-B863-A0AB39626B9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4425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1A1676-9397-4C23-9BFC-417FB398200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3127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100000">
                <a:schemeClr val="accent3"/>
              </a:gs>
              <a:gs pos="25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9D37E7-4CC0-4AE0-9311-36C9300BB9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1895650"/>
            <a:ext cx="2937391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2055246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7FA32B-09FD-45B0-A9E3-E4AAE0380883}"/>
              </a:ext>
            </a:extLst>
          </p:cNvPr>
          <p:cNvSpPr/>
          <p:nvPr/>
        </p:nvSpPr>
        <p:spPr>
          <a:xfrm>
            <a:off x="0" y="0"/>
            <a:ext cx="12192000" cy="37781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F3DD4E19-A0EC-4B50-A93D-C9F29D831E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83474" y="370761"/>
            <a:ext cx="379934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FD07DA2-5291-4B98-AA27-37F463854BF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78783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67171D-DE37-48C1-818B-08C5299BBAA7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291605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9B20AD3-A376-45DE-A1FF-95B2A2BC3D7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04427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92000">
                <a:schemeClr val="accent3"/>
              </a:gs>
              <a:gs pos="31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4E0270C-70A9-4A51-903C-E203ABEFF09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9117248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1400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C958A6C-A811-4925-AC19-663372B0AB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474" y="1152084"/>
            <a:ext cx="11274486" cy="2243319"/>
          </a:xfrm>
        </p:spPr>
        <p:txBody>
          <a:bodyPr lIns="0" rIns="0">
            <a:normAutofit/>
          </a:bodyPr>
          <a:lstStyle>
            <a:lvl1pPr>
              <a:defRPr sz="20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0">
              <a:buSzPct val="75000"/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090049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0AE362C-9B6B-4086-808D-F381F6B96F2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7" y="1165707"/>
            <a:ext cx="2975443" cy="1669367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EF52193-65F6-41E6-AC99-35F01F1688A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" y="292954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DC163D3-47F3-4690-8A5C-2D9C2BDD398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" y="472422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DE14A-2EF7-4898-9DF7-AE96EAEAF71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040063" y="1134862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308CE5-E127-42EF-84CC-8C39DCB0376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55588" y="146685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556F63-D09D-45BF-9E37-C5428CCACF3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55588" y="326153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F1986C6-DA9E-479D-91D8-8410F2ECBF4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55588" y="5063034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0808AB5-D7A5-4090-B1F7-2494EABE1E2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040063" y="292954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D5441F3-C4D5-4770-8404-74B18BB2DBF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3040063" y="472422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4303244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7DA25B9-E637-4C84-AD93-6590C4FAC19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6" y="1230924"/>
            <a:ext cx="3381067" cy="1213042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8D235EE-9936-4403-9359-35AEB2FF0C1E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447138" y="1233978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57C7D518-41C0-436C-A932-FD47E9D4BDF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07075" y="1318332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347FE31-0F52-4425-AFDE-277526A2BD4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3646" y="2506989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A2DEDDC-E6BA-4504-B7C1-E0FA5637E43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07075" y="2594397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AA94E32-55F9-47D1-84CA-33C86377277B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646" y="3810350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555C3B6-FFAE-4E9D-8878-1EAEEB1B8A6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07075" y="3884110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A0F1F38-745F-46FE-8C49-8039670DB15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" y="5086415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180A0AE-6928-4542-AEFD-35D34BAA6B8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07075" y="5160175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ECB0E7F-A993-4FEA-9A79-063A0031CE7F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3447138" y="2506990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7E45D89-57FB-4C08-A4CC-9DA19AF320F1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3447138" y="3810351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AF0F317-AF52-405B-ACDC-618F922258E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3447138" y="5086416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742002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3203500" y="0"/>
            <a:ext cx="8988499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2" name="Graphic 6">
            <a:extLst>
              <a:ext uri="{FF2B5EF4-FFF2-40B4-BE49-F238E27FC236}">
                <a16:creationId xmlns:a16="http://schemas.microsoft.com/office/drawing/2014/main" id="{94596DCF-BED3-42A8-B4CC-3AA332E65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  <a:gradFill flip="none" rotWithShape="1">
            <a:gsLst>
              <a:gs pos="14000">
                <a:schemeClr val="accent2"/>
              </a:gs>
              <a:gs pos="100000">
                <a:schemeClr val="accent3"/>
              </a:gs>
            </a:gsLst>
            <a:lin ang="5400000" scaled="1"/>
            <a:tileRect/>
          </a:gra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BAC622-6384-4E32-AC34-28E9BEC10EC6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119023-80F6-4CA3-A4D9-7660D5D5B743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6C2E1B1-646D-4DCB-B7EB-391C633DFD86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BFE7D0-8C77-46F2-9473-D48A1AAE9FF8}"/>
              </a:ext>
            </a:extLst>
          </p:cNvPr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tx1"/>
          </a:solidFill>
        </p:grpSpPr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06BCB32A-104A-4139-A97B-505437ABA0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39D5C8FE-02EC-456B-B357-BF648AA734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D9D0AC65-F9A8-42F8-968A-D62F9A0DE5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234595FE-3663-45BC-AB1F-483A8CC92027}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708190C3-DC12-486A-B5A8-8E8769D9FE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DFB76F86-5B93-4934-8A31-370D731EB4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071CDD4-FEFA-4271-A0A1-82B74CB2EAC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6D60CBAB-7CEF-4CD5-9AC2-ED8A6580F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425FA7C1-DE53-4DD7-8C07-5ECE30A1F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50ACC1DB-6B24-44DE-9550-A1C220F71C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D6CB0094-CC84-475F-8B8F-4578025E33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D746C678-89BC-4DFD-931A-FABF65A033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C5942D70-D634-4EF9-9595-7CF554934B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DF21F44F-5551-4341-A106-D2A7052AAF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91ECF8A-8657-4730-897C-B2B38AC8CF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bg2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851645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6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1" y="0"/>
            <a:ext cx="12214221" cy="686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" y="-2115"/>
            <a:ext cx="3185030" cy="4309112"/>
          </a:xfrm>
          <a:custGeom>
            <a:avLst/>
            <a:gdLst>
              <a:gd name="T0" fmla="*/ 1502 w 1502"/>
              <a:gd name="T1" fmla="*/ 0 h 2033"/>
              <a:gd name="T2" fmla="*/ 0 w 1502"/>
              <a:gd name="T3" fmla="*/ 2033 h 2033"/>
              <a:gd name="T4" fmla="*/ 1502 w 1502"/>
              <a:gd name="T5" fmla="*/ 0 h 20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02" h="2033">
                <a:moveTo>
                  <a:pt x="1502" y="0"/>
                </a:moveTo>
                <a:cubicBezTo>
                  <a:pt x="1308" y="1026"/>
                  <a:pt x="783" y="1698"/>
                  <a:pt x="0" y="2033"/>
                </a:cubicBezTo>
                <a:cubicBezTo>
                  <a:pt x="783" y="1698"/>
                  <a:pt x="1308" y="1026"/>
                  <a:pt x="1502" y="0"/>
                </a:cubicBezTo>
              </a:path>
            </a:pathLst>
          </a:custGeom>
          <a:solidFill>
            <a:srgbClr val="B0C8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3388FED-4E60-4690-AC44-8AA0204F1E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5031" y="2928346"/>
            <a:ext cx="5350419" cy="289750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43E9A71-2D9F-4FEC-817B-FDEBA1ACBC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8406" y="1171648"/>
            <a:ext cx="5586416" cy="85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02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1184276"/>
            <a:ext cx="11286067" cy="51943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523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43805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ts val="2237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85889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spcBef>
                <a:spcPts val="799"/>
              </a:spcBef>
              <a:spcAft>
                <a:spcPts val="0"/>
              </a:spcAft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0" y="1352663"/>
            <a:ext cx="6023237" cy="527615"/>
          </a:xfr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537015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224325" y="1352663"/>
            <a:ext cx="5965559" cy="527615"/>
          </a:xfr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119454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3939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72873" y="573103"/>
            <a:ext cx="7104983" cy="5248452"/>
          </a:xfrm>
          <a:prstGeom prst="rect">
            <a:avLst/>
          </a:prstGeom>
          <a:noFill/>
        </p:spPr>
        <p:txBody>
          <a:bodyPr lIns="548640" tIns="1414476" rIns="1097280"/>
          <a:lstStyle>
            <a:lvl1pPr marL="968318" indent="-968318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  <a:defRPr lang="en-US" sz="5261" b="1" kern="1200" cap="all" spc="-119" baseline="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2pPr>
            <a:lvl3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3pPr>
            <a:lvl4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4pPr>
            <a:lvl5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ITLE WITH STRONG</a:t>
            </a:r>
            <a:br>
              <a:rPr lang="en-GB"/>
            </a:br>
            <a:r>
              <a:rPr lang="en-GB"/>
              <a:t>MESSAGE / CALL TO</a:t>
            </a:r>
            <a:br>
              <a:rPr lang="en-GB"/>
            </a:br>
            <a:r>
              <a:rPr lang="en-GB"/>
              <a:t>ACTION. Not MORE </a:t>
            </a:r>
          </a:p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HAN 4 LINES.</a:t>
            </a:r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420163F4-0103-4DA6-8777-8BECBBC45C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10143" y="1967112"/>
            <a:ext cx="3792748" cy="37967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32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464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9293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F910D-17AC-434A-B944-D7CE303760E2}"/>
              </a:ext>
            </a:extLst>
          </p:cNvPr>
          <p:cNvGrpSpPr/>
          <p:nvPr/>
        </p:nvGrpSpPr>
        <p:grpSpPr>
          <a:xfrm>
            <a:off x="9007754" y="0"/>
            <a:ext cx="3181928" cy="2658049"/>
            <a:chOff x="4125180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7" name="Freeform: Shape 17">
              <a:extLst>
                <a:ext uri="{FF2B5EF4-FFF2-40B4-BE49-F238E27FC236}">
                  <a16:creationId xmlns:a16="http://schemas.microsoft.com/office/drawing/2014/main" id="{27848A05-1B96-4EDB-ABC7-3F2304454564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8">
              <a:extLst>
                <a:ext uri="{FF2B5EF4-FFF2-40B4-BE49-F238E27FC236}">
                  <a16:creationId xmlns:a16="http://schemas.microsoft.com/office/drawing/2014/main" id="{48D92EE4-5943-433B-B3E5-EFE1D7082988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0" name="Freeform: Shape 19">
              <a:extLst>
                <a:ext uri="{FF2B5EF4-FFF2-40B4-BE49-F238E27FC236}">
                  <a16:creationId xmlns:a16="http://schemas.microsoft.com/office/drawing/2014/main" id="{E6083B81-FC24-4D63-8AB2-CC93B4B53388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92935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3"/>
              </a:gs>
              <a:gs pos="100000">
                <a:schemeClr val="accent2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84777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4"/>
              </a:gs>
              <a:gs pos="100000">
                <a:schemeClr val="accent5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15579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5CD4E-E3B6-4F35-8E6F-F4EB54C1E523}"/>
              </a:ext>
            </a:extLst>
          </p:cNvPr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7199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27" imgH="327" progId="TCLayout.ActiveDocument.1">
                  <p:embed/>
                </p:oleObj>
              </mc:Choice>
              <mc:Fallback>
                <p:oleObj name="think-cell Slide" r:id="rId57" imgW="327" imgH="32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5CD4E-E3B6-4F35-8E6F-F4EB54C1E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/>
          </a:p>
        </p:txBody>
      </p:sp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6251" y="1179513"/>
            <a:ext cx="11286067" cy="519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600442" lvl="1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931799" lvl="2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3 level</a:t>
            </a:r>
          </a:p>
          <a:p>
            <a:pPr marL="1147028" marR="0" lvl="3" indent="-186052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4 Second level</a:t>
            </a:r>
          </a:p>
          <a:p>
            <a:pPr marL="1362254" lvl="4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5 level</a:t>
            </a:r>
          </a:p>
        </p:txBody>
      </p:sp>
      <p:sp>
        <p:nvSpPr>
          <p:cNvPr id="512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hort Titl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algn="l">
              <a:defRPr sz="1332" smtClean="0">
                <a:solidFill>
                  <a:schemeClr val="tx2"/>
                </a:solidFill>
                <a:latin typeface="Arial MT Std Light" panose="020B0302030403020204" pitchFamily="34" charset="0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24AB19B-675F-7143-BD41-7DEBD40A6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131608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98" imgH="499" progId="TCLayout.ActiveDocument.1">
                  <p:embed/>
                </p:oleObj>
              </mc:Choice>
              <mc:Fallback>
                <p:oleObj name="think-cell Slide" r:id="rId59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24AB19B-675F-7143-BD41-7DEBD40A6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596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1" r:id="rId52"/>
    <p:sldLayoutId id="2147483772" r:id="rId53"/>
  </p:sldLayoutIdLst>
  <p:hf hdr="0" ftr="0" dt="0"/>
  <p:txStyles>
    <p:titleStyle>
      <a:lvl1pPr marL="0" indent="0" algn="l" rtl="1" eaLnBrk="1" fontAlgn="base" hangingPunct="1">
        <a:spcBef>
          <a:spcPct val="0"/>
        </a:spcBef>
        <a:spcAft>
          <a:spcPct val="0"/>
        </a:spcAft>
        <a:defRPr sz="3200" b="0" kern="1200" cap="none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Arial" panose="020B0604020202020204" pitchFamily="34" charset="0"/>
        </a:defRPr>
      </a:lvl1pPr>
      <a:lvl2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2pPr>
      <a:lvl3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3pPr>
      <a:lvl4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4pPr>
      <a:lvl5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5pPr>
      <a:lvl6pPr marL="543478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6pPr>
      <a:lvl7pPr marL="108695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7pPr>
      <a:lvl8pPr marL="1630422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8pPr>
      <a:lvl9pPr marL="217390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9pPr>
    </p:titleStyle>
    <p:bodyStyle>
      <a:lvl1pPr marL="298299" indent="-298299" algn="r" defTabSz="941900" rtl="1" eaLnBrk="1" fontAlgn="base" hangingPunct="1">
        <a:spcBef>
          <a:spcPts val="666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14390" indent="0" algn="r" rtl="1" eaLnBrk="1" fontAlgn="base" hangingPunct="1">
        <a:spcBef>
          <a:spcPts val="400"/>
        </a:spcBef>
        <a:spcAft>
          <a:spcPts val="0"/>
        </a:spcAft>
        <a:buClr>
          <a:schemeClr val="bg2"/>
        </a:buClr>
        <a:buSzPct val="80000"/>
        <a:buFont typeface="Arial" panose="020B0604020202020204" pitchFamily="34" charset="0"/>
        <a:buNone/>
        <a:defRPr lang="en-US" sz="20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45747" indent="-213342" algn="r" rtl="1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0976" indent="-213342" algn="r" rtl="1" eaLnBrk="1" fontAlgn="base" hangingPunct="1">
        <a:spcBef>
          <a:spcPct val="20000"/>
        </a:spcBef>
        <a:spcAft>
          <a:spcPct val="0"/>
        </a:spcAft>
        <a:buClr>
          <a:srgbClr val="7685C2"/>
        </a:buClr>
        <a:buSzPct val="7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76202" indent="-213342" algn="r" rtl="1" eaLnBrk="1" fontAlgn="base" hangingPunct="1">
        <a:spcBef>
          <a:spcPct val="20000"/>
        </a:spcBef>
        <a:spcAft>
          <a:spcPct val="0"/>
        </a:spcAft>
        <a:buClr>
          <a:srgbClr val="AFB7DB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98911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53258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076062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619536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1pPr>
      <a:lvl2pPr marL="54347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2pPr>
      <a:lvl3pPr marL="108695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3pPr>
      <a:lvl4pPr marL="163042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4pPr>
      <a:lvl5pPr marL="217390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5pPr>
      <a:lvl6pPr marL="271737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6pPr>
      <a:lvl7pPr marL="326084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7pPr>
      <a:lvl8pPr marL="380432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8pPr>
      <a:lvl9pPr marL="434780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4" Type="http://schemas.openxmlformats.org/officeDocument/2006/relationships/image" Target="../media/image4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7.bin"/><Relationship Id="rId4" Type="http://schemas.microsoft.com/office/2018/10/relationships/comments" Target="../comments/modernComment_7FFFFDE4_1AF3E58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7FFFFDE8_15A1C7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9.bin"/><Relationship Id="rId4" Type="http://schemas.microsoft.com/office/2018/10/relationships/comments" Target="../comments/modernComment_121_94A9627B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6.xml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34.png"/><Relationship Id="rId18" Type="http://schemas.openxmlformats.org/officeDocument/2006/relationships/image" Target="../media/image38.jpeg"/><Relationship Id="rId3" Type="http://schemas.microsoft.com/office/2007/relationships/hdphoto" Target="../media/hdphoto1.wdp"/><Relationship Id="rId21" Type="http://schemas.openxmlformats.org/officeDocument/2006/relationships/image" Target="../media/image41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17" Type="http://schemas.openxmlformats.org/officeDocument/2006/relationships/image" Target="../media/image37.png"/><Relationship Id="rId2" Type="http://schemas.openxmlformats.org/officeDocument/2006/relationships/image" Target="../media/image26.png"/><Relationship Id="rId16" Type="http://schemas.microsoft.com/office/2007/relationships/hdphoto" Target="../media/hdphoto4.wdp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microsoft.com/office/2007/relationships/hdphoto" Target="../media/hdphoto2.wdp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39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58878E-166E-8F47-A4FE-4A2F14FC4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446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58878E-166E-8F47-A4FE-4A2F14FC4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5D5CC80-9E1B-EA4B-89F9-066962C06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1746281"/>
            <a:ext cx="6359371" cy="2167497"/>
          </a:xfrm>
        </p:spPr>
        <p:txBody>
          <a:bodyPr vert="horz"/>
          <a:lstStyle/>
          <a:p>
            <a:pPr rtl="0"/>
            <a:r>
              <a:rPr lang="en-GB" sz="4400" dirty="0"/>
              <a:t>NICE Actimize Consortium </a:t>
            </a:r>
            <a:br>
              <a:rPr lang="en-GB" sz="4400" dirty="0"/>
            </a:br>
            <a:endParaRPr lang="en-GB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3A694-B364-B944-814F-D770E9E1DE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94450"/>
            <a:ext cx="85725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75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DC576C-AF85-61F5-8037-B00EB47CF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US" dirty="0"/>
              <a:t>Assumptions on the launch of consortium driven offerings: </a:t>
            </a:r>
          </a:p>
          <a:p>
            <a:pPr algn="l" rtl="0"/>
            <a:r>
              <a:rPr lang="en-US" dirty="0"/>
              <a:t>Year 0 – Pilot with X banks on 1</a:t>
            </a:r>
            <a:r>
              <a:rPr lang="en-US" baseline="30000" dirty="0"/>
              <a:t>st</a:t>
            </a:r>
            <a:r>
              <a:rPr lang="en-US" dirty="0"/>
              <a:t> use case (creating the seed)</a:t>
            </a:r>
          </a:p>
          <a:p>
            <a:pPr algn="l" rtl="0"/>
            <a:r>
              <a:rPr lang="en-US" dirty="0"/>
              <a:t>Year 1 – Fraud consortium offering focused on </a:t>
            </a:r>
            <a:r>
              <a:rPr lang="en-US" b="1" dirty="0"/>
              <a:t>counterparty</a:t>
            </a:r>
            <a:r>
              <a:rPr lang="en-US" dirty="0"/>
              <a:t> </a:t>
            </a:r>
            <a:r>
              <a:rPr lang="en-US" b="1" dirty="0"/>
              <a:t>intelligence </a:t>
            </a:r>
            <a:br>
              <a:rPr lang="en-US" b="1" dirty="0"/>
            </a:br>
            <a:r>
              <a:rPr lang="en-US" dirty="0"/>
              <a:t>(bank account) for </a:t>
            </a:r>
            <a:r>
              <a:rPr lang="en-US" b="1" dirty="0"/>
              <a:t>payments fraud </a:t>
            </a:r>
          </a:p>
          <a:p>
            <a:pPr algn="l" rtl="0"/>
            <a:r>
              <a:rPr lang="en-US" dirty="0"/>
              <a:t>Year 2 – Onboarding Consortium offering; </a:t>
            </a:r>
          </a:p>
          <a:p>
            <a:pPr algn="l" rtl="0"/>
            <a:r>
              <a:rPr lang="en-US" dirty="0"/>
              <a:t>Year 3 - Fincrime Investigation offering;</a:t>
            </a:r>
          </a:p>
          <a:p>
            <a:pPr marL="0" indent="0" algn="l" rtl="0">
              <a:buNone/>
            </a:pPr>
            <a:endParaRPr lang="en-US" dirty="0"/>
          </a:p>
          <a:p>
            <a:pPr algn="l" rtl="0"/>
            <a:r>
              <a:rPr lang="en-US" dirty="0"/>
              <a:t>Determine FGU for licen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D41A9-E624-F57B-F163-9BCFECEA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 assump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9D641-066E-3DA7-C4D2-CEFB5B716F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622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26F81F-DE00-8F4D-9625-A46D96466A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26F81F-DE00-8F4D-9625-A46D96466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EC7BD5-433A-6F43-9F45-BA17F5E18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133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MT Std Light" panose="020B0302030403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Std Light" panose="020B0302030403020204" pitchFamily="34" charset="0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33D78A-2B8F-7041-B088-7A92B518B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7" y="947529"/>
            <a:ext cx="5097320" cy="645882"/>
          </a:xfrm>
        </p:spPr>
        <p:txBody>
          <a:bodyPr vert="horz"/>
          <a:lstStyle/>
          <a:p>
            <a:pPr rtl="0"/>
            <a:r>
              <a:rPr lang="en-GB" dirty="0"/>
              <a:t>Definition of Success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AA169E-20CC-034E-090E-9E52E5D4B7D8}"/>
              </a:ext>
            </a:extLst>
          </p:cNvPr>
          <p:cNvSpPr txBox="1"/>
          <p:nvPr/>
        </p:nvSpPr>
        <p:spPr>
          <a:xfrm>
            <a:off x="1049253" y="2308634"/>
            <a:ext cx="699022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Generate </a:t>
            </a:r>
            <a:r>
              <a:rPr lang="en-GB" sz="2000" b="1" dirty="0"/>
              <a:t>$9M</a:t>
            </a:r>
            <a:r>
              <a:rPr lang="en-GB" sz="2000" dirty="0"/>
              <a:t> ACV from 26 customers within 3 years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30M </a:t>
            </a:r>
            <a:r>
              <a:rPr lang="en-GB" sz="2000" dirty="0"/>
              <a:t>ACV from 35 customers within 5 years 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100M </a:t>
            </a:r>
            <a:r>
              <a:rPr lang="en-GB" sz="2000" dirty="0"/>
              <a:t>ACV from 100 customers within 10 yea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37710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262EE-943E-0F51-8DF9-1B33088CD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Proje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55A26-8FCF-C1F2-A91E-346D644771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FA32C1-8323-92D4-DAE8-D8F9E912A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491" y="1707301"/>
            <a:ext cx="11326806" cy="95263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0F0936-C49A-0A3D-7A8B-68FF8EC578D2}"/>
              </a:ext>
            </a:extLst>
          </p:cNvPr>
          <p:cNvSpPr txBox="1"/>
          <p:nvPr/>
        </p:nvSpPr>
        <p:spPr>
          <a:xfrm>
            <a:off x="565608" y="3874416"/>
            <a:ext cx="9088510" cy="95410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0" lvl="1">
              <a:spcBef>
                <a:spcPts val="0"/>
              </a:spcBef>
              <a:spcAft>
                <a:spcPts val="0"/>
              </a:spcAft>
              <a:tabLst>
                <a:tab pos="914400" algn="l"/>
              </a:tabLst>
            </a:pPr>
            <a:r>
              <a:rPr lang="en-US" u="sng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direct valu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crease competitive position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&amp; 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ins for platform and portfolio</a:t>
            </a:r>
            <a:endParaRPr lang="en-US" sz="2000" dirty="0">
              <a:solidFill>
                <a:srgbClr val="000000"/>
              </a:solidFill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te a powerful Data "control point" strengthening our platform position</a:t>
            </a:r>
            <a:endParaRPr lang="en-US" sz="2000" dirty="0">
              <a:solidFill>
                <a:srgbClr val="0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87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BD8441-6F73-299F-B83C-9C84A4585C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E5514B-54FF-A60A-0DA0-33AE583DA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cope of Work</a:t>
            </a:r>
          </a:p>
        </p:txBody>
      </p:sp>
    </p:spTree>
    <p:extLst>
      <p:ext uri="{BB962C8B-B14F-4D97-AF65-F5344CB8AC3E}">
        <p14:creationId xmlns:p14="http://schemas.microsoft.com/office/powerpoint/2010/main" val="2800349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2F9A39-3BA9-DB0E-A24D-A88F0B5A7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2F9A39-3BA9-DB0E-A24D-A88F0B5A7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3BDF3592-5D97-85FB-8BCC-C0B30330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251668"/>
            <a:ext cx="11286067" cy="582052"/>
          </a:xfrm>
        </p:spPr>
        <p:txBody>
          <a:bodyPr vert="horz"/>
          <a:lstStyle/>
          <a:p>
            <a:r>
              <a:rPr lang="en-GB"/>
              <a:t>Scope of 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CD5CF8-BFF3-5FE3-614A-1F6DA5F69338}"/>
              </a:ext>
            </a:extLst>
          </p:cNvPr>
          <p:cNvGrpSpPr/>
          <p:nvPr/>
        </p:nvGrpSpPr>
        <p:grpSpPr>
          <a:xfrm>
            <a:off x="510319" y="1126631"/>
            <a:ext cx="11267240" cy="1175918"/>
            <a:chOff x="510319" y="1126631"/>
            <a:chExt cx="11267240" cy="117591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D3EC31-7968-8219-1E84-297F776A4D08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Team Chart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A1E77D7-D164-AED7-4B9A-D343DF946A18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>
                <a:spcBef>
                  <a:spcPts val="600"/>
                </a:spcBef>
              </a:pPr>
              <a:r>
                <a:rPr lang="en-US" sz="1800" b="0" i="0" u="none" strike="noStrike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+mn-ea"/>
                  <a:cs typeface="+mn-cs"/>
                </a:rPr>
                <a:t>FRD Consortium Development &amp; Commercializ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F31D4AA-7D68-E359-04BA-3743406F1746}"/>
              </a:ext>
            </a:extLst>
          </p:cNvPr>
          <p:cNvGrpSpPr/>
          <p:nvPr/>
        </p:nvGrpSpPr>
        <p:grpSpPr>
          <a:xfrm>
            <a:off x="510319" y="2479570"/>
            <a:ext cx="11267240" cy="3701150"/>
            <a:chOff x="510319" y="1126631"/>
            <a:chExt cx="11267240" cy="117591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87A4F86-1A1A-1DD9-82E9-A441E06027DC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Scop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0F8EC6B-AF69-48FD-76D5-DF8669D9E7FB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t"/>
            <a:lstStyle/>
            <a:p>
              <a:pPr marL="114300" marR="0" lvl="0" algn="l" defTabSz="108695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sz="18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6D751E7-5E6D-D730-09F4-303DDA72E156}"/>
              </a:ext>
            </a:extLst>
          </p:cNvPr>
          <p:cNvSpPr txBox="1"/>
          <p:nvPr/>
        </p:nvSpPr>
        <p:spPr>
          <a:xfrm>
            <a:off x="2515486" y="2595460"/>
            <a:ext cx="912589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2025</a:t>
            </a:r>
            <a:b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vide </a:t>
            </a: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unterparty risk 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 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time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o enhance Fraud and Scams detection and improve customer experienc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  <a:endParaRPr lang="en-US" sz="2000">
              <a:solidFill>
                <a:srgbClr val="000000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rgbClr val="000000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sz="2000" b="1">
                <a:solidFill>
                  <a:srgbClr val="000000"/>
                </a:solidFill>
                <a:latin typeface="Aptos" panose="020B0004020202020204" pitchFamily="34" charset="0"/>
              </a:rPr>
              <a:t>2026 &amp; Beyond</a:t>
            </a:r>
          </a:p>
          <a:p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Expand to other </a:t>
            </a:r>
            <a:r>
              <a:rPr lang="en-US" sz="2000" err="1">
                <a:solidFill>
                  <a:srgbClr val="000000"/>
                </a:solidFill>
                <a:latin typeface="Aptos" panose="020B0004020202020204" pitchFamily="34" charset="0"/>
              </a:rPr>
              <a:t>FinCrim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 use cases  (e.g. Money Mules, Onboarding, Xceed etc.)</a:t>
            </a:r>
          </a:p>
        </p:txBody>
      </p:sp>
    </p:spTree>
    <p:extLst>
      <p:ext uri="{BB962C8B-B14F-4D97-AF65-F5344CB8AC3E}">
        <p14:creationId xmlns:p14="http://schemas.microsoft.com/office/powerpoint/2010/main" val="4521916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0" advClick="0" advTm="10416">
        <p159:morph option="byObject"/>
      </p:transition>
    </mc:Choice>
    <mc:Fallback>
      <p:transition advClick="0" advTm="10416"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5 Plan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775BF2-07C6-D9CF-EA1A-217DA8069D36}"/>
              </a:ext>
            </a:extLst>
          </p:cNvPr>
          <p:cNvSpPr txBox="1"/>
          <p:nvPr/>
        </p:nvSpPr>
        <p:spPr>
          <a:xfrm>
            <a:off x="1236827" y="1871153"/>
            <a:ext cx="1699063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8C5AC-60D9-2026-5319-F700A71DA391}"/>
              </a:ext>
            </a:extLst>
          </p:cNvPr>
          <p:cNvSpPr txBox="1"/>
          <p:nvPr/>
        </p:nvSpPr>
        <p:spPr>
          <a:xfrm>
            <a:off x="3714189" y="1871153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2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65D958-09DE-64E9-1CC0-C9F24056B2A0}"/>
              </a:ext>
            </a:extLst>
          </p:cNvPr>
          <p:cNvSpPr txBox="1"/>
          <p:nvPr/>
        </p:nvSpPr>
        <p:spPr>
          <a:xfrm>
            <a:off x="3459163" y="4911885"/>
            <a:ext cx="4370711" cy="10766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Initiating </a:t>
            </a:r>
            <a:r>
              <a:rPr lang="en-US" sz="1100" err="1">
                <a:solidFill>
                  <a:srgbClr val="101820"/>
                </a:solidFill>
                <a:latin typeface="Arial"/>
              </a:rPr>
              <a:t>PoV</a:t>
            </a:r>
            <a:r>
              <a:rPr lang="en-US" sz="1100">
                <a:solidFill>
                  <a:srgbClr val="101820"/>
                </a:solidFill>
                <a:latin typeface="Arial"/>
              </a:rPr>
              <a:t>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Product Development start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Hiring &amp; Onboarding complete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Legal framework for produ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DCE625-CD24-FDAC-5202-15D50A6E7139}"/>
              </a:ext>
            </a:extLst>
          </p:cNvPr>
          <p:cNvSpPr txBox="1"/>
          <p:nvPr/>
        </p:nvSpPr>
        <p:spPr>
          <a:xfrm>
            <a:off x="1066120" y="3062512"/>
            <a:ext cx="2939181" cy="13867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</a:rPr>
              <a:t>MVP Definition &amp; Requirements ready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Architecture &amp; HL Design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Start Hiring (50%)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Finalize Legal terms for POV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 err="1">
                <a:solidFill>
                  <a:srgbClr val="101820"/>
                </a:solidFill>
                <a:latin typeface="Arial"/>
                <a:cs typeface="Arial"/>
              </a:rPr>
              <a:t>PoV</a:t>
            </a: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 package for participants read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92F4344-AAE8-A6D1-9BAB-1E7D08880A59}"/>
              </a:ext>
            </a:extLst>
          </p:cNvPr>
          <p:cNvCxnSpPr>
            <a:cxnSpLocks/>
          </p:cNvCxnSpPr>
          <p:nvPr/>
        </p:nvCxnSpPr>
        <p:spPr>
          <a:xfrm>
            <a:off x="1482956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6520280-B02F-09B5-283B-5142CB162919}"/>
              </a:ext>
            </a:extLst>
          </p:cNvPr>
          <p:cNvCxnSpPr>
            <a:cxnSpLocks/>
          </p:cNvCxnSpPr>
          <p:nvPr/>
        </p:nvCxnSpPr>
        <p:spPr>
          <a:xfrm>
            <a:off x="3946046" y="2247762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Right Bracket 10">
            <a:extLst>
              <a:ext uri="{FF2B5EF4-FFF2-40B4-BE49-F238E27FC236}">
                <a16:creationId xmlns:a16="http://schemas.microsoft.com/office/drawing/2014/main" id="{39BCEFAF-9259-323C-96EF-DEA29854331C}"/>
              </a:ext>
            </a:extLst>
          </p:cNvPr>
          <p:cNvSpPr/>
          <p:nvPr/>
        </p:nvSpPr>
        <p:spPr>
          <a:xfrm rot="16200000">
            <a:off x="2271041" y="1760328"/>
            <a:ext cx="89066" cy="2547446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ight Bracket 11">
            <a:extLst>
              <a:ext uri="{FF2B5EF4-FFF2-40B4-BE49-F238E27FC236}">
                <a16:creationId xmlns:a16="http://schemas.microsoft.com/office/drawing/2014/main" id="{47063BD4-73F2-BE3D-CF46-B0E719A031FE}"/>
              </a:ext>
            </a:extLst>
          </p:cNvPr>
          <p:cNvSpPr/>
          <p:nvPr/>
        </p:nvSpPr>
        <p:spPr>
          <a:xfrm rot="16200000">
            <a:off x="5350882" y="2963024"/>
            <a:ext cx="124741" cy="3932618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5BABA-2C3D-62E0-21D9-2713A87326FE}"/>
              </a:ext>
            </a:extLst>
          </p:cNvPr>
          <p:cNvSpPr txBox="1"/>
          <p:nvPr/>
        </p:nvSpPr>
        <p:spPr>
          <a:xfrm>
            <a:off x="8247160" y="4911885"/>
            <a:ext cx="3771620" cy="8891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</a:rPr>
              <a:t>GTM Launch readiness</a:t>
            </a: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  <a:cs typeface="Arial"/>
              </a:rPr>
              <a:t>Fraud Consortium MVP ready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</p:txBody>
      </p:sp>
      <p:sp>
        <p:nvSpPr>
          <p:cNvPr id="14" name="Right Bracket 13">
            <a:extLst>
              <a:ext uri="{FF2B5EF4-FFF2-40B4-BE49-F238E27FC236}">
                <a16:creationId xmlns:a16="http://schemas.microsoft.com/office/drawing/2014/main" id="{66387CDF-8BA9-FC15-A904-020A4372C3AE}"/>
              </a:ext>
            </a:extLst>
          </p:cNvPr>
          <p:cNvSpPr/>
          <p:nvPr/>
        </p:nvSpPr>
        <p:spPr>
          <a:xfrm rot="16200000">
            <a:off x="9896746" y="3244823"/>
            <a:ext cx="110527" cy="3348423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3800D-C9DC-3020-13C8-E1ADDEB3BE4B}"/>
              </a:ext>
            </a:extLst>
          </p:cNvPr>
          <p:cNvSpPr txBox="1"/>
          <p:nvPr/>
        </p:nvSpPr>
        <p:spPr>
          <a:xfrm>
            <a:off x="6086869" y="2751562"/>
            <a:ext cx="3322361" cy="10881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3775">
              <a:lnSpc>
                <a:spcPct val="150000"/>
              </a:lnSpc>
              <a:defRPr/>
            </a:pPr>
            <a:endParaRPr lang="en-US" sz="1150">
              <a:solidFill>
                <a:srgbClr val="101820"/>
              </a:solidFill>
              <a:latin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Summarizing PoV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commercial approach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Consortium Service foundation read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F619D4-DC72-1D1A-F99D-5FA08DFBC195}"/>
              </a:ext>
            </a:extLst>
          </p:cNvPr>
          <p:cNvCxnSpPr>
            <a:cxnSpLocks/>
          </p:cNvCxnSpPr>
          <p:nvPr/>
        </p:nvCxnSpPr>
        <p:spPr>
          <a:xfrm>
            <a:off x="6423409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C20936-7644-E938-3003-6528E1852205}"/>
              </a:ext>
            </a:extLst>
          </p:cNvPr>
          <p:cNvCxnSpPr>
            <a:cxnSpLocks/>
          </p:cNvCxnSpPr>
          <p:nvPr/>
        </p:nvCxnSpPr>
        <p:spPr>
          <a:xfrm>
            <a:off x="8900772" y="2259408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" name="Right Bracket 17">
            <a:extLst>
              <a:ext uri="{FF2B5EF4-FFF2-40B4-BE49-F238E27FC236}">
                <a16:creationId xmlns:a16="http://schemas.microsoft.com/office/drawing/2014/main" id="{233A9BD1-0C9F-1927-4937-A487886577BB}"/>
              </a:ext>
            </a:extLst>
          </p:cNvPr>
          <p:cNvSpPr/>
          <p:nvPr/>
        </p:nvSpPr>
        <p:spPr>
          <a:xfrm rot="16200000">
            <a:off x="7115396" y="1590562"/>
            <a:ext cx="89525" cy="2206011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614548E-D2E9-B553-BA59-0499F2E3132B}"/>
              </a:ext>
            </a:extLst>
          </p:cNvPr>
          <p:cNvCxnSpPr/>
          <p:nvPr/>
        </p:nvCxnSpPr>
        <p:spPr>
          <a:xfrm>
            <a:off x="2126836" y="2247763"/>
            <a:ext cx="0" cy="741755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2C7120-E9C8-ECF7-7CD9-3A310A7BD0F7}"/>
              </a:ext>
            </a:extLst>
          </p:cNvPr>
          <p:cNvCxnSpPr>
            <a:cxnSpLocks/>
          </p:cNvCxnSpPr>
          <p:nvPr/>
        </p:nvCxnSpPr>
        <p:spPr>
          <a:xfrm>
            <a:off x="4589927" y="2234599"/>
            <a:ext cx="0" cy="267728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5B9AE2A-DC75-972F-441F-690D854DB803}"/>
              </a:ext>
            </a:extLst>
          </p:cNvPr>
          <p:cNvCxnSpPr>
            <a:cxnSpLocks/>
          </p:cNvCxnSpPr>
          <p:nvPr/>
        </p:nvCxnSpPr>
        <p:spPr>
          <a:xfrm>
            <a:off x="7067290" y="2234599"/>
            <a:ext cx="0" cy="3750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0D9C3BA-44B7-5341-43C0-2D479FE767F3}"/>
              </a:ext>
            </a:extLst>
          </p:cNvPr>
          <p:cNvCxnSpPr>
            <a:cxnSpLocks/>
          </p:cNvCxnSpPr>
          <p:nvPr/>
        </p:nvCxnSpPr>
        <p:spPr>
          <a:xfrm>
            <a:off x="9544653" y="2278312"/>
            <a:ext cx="0" cy="258545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626787F-6E79-4228-1F09-99C7534ED01A}"/>
              </a:ext>
            </a:extLst>
          </p:cNvPr>
          <p:cNvSpPr txBox="1"/>
          <p:nvPr/>
        </p:nvSpPr>
        <p:spPr>
          <a:xfrm>
            <a:off x="6163940" y="1895995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3A6499-444C-673C-5DDC-0563E6E43C52}"/>
              </a:ext>
            </a:extLst>
          </p:cNvPr>
          <p:cNvSpPr txBox="1"/>
          <p:nvPr/>
        </p:nvSpPr>
        <p:spPr>
          <a:xfrm>
            <a:off x="8708153" y="1871152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4 2025</a:t>
            </a:r>
          </a:p>
        </p:txBody>
      </p:sp>
    </p:spTree>
    <p:extLst>
      <p:ext uri="{BB962C8B-B14F-4D97-AF65-F5344CB8AC3E}">
        <p14:creationId xmlns:p14="http://schemas.microsoft.com/office/powerpoint/2010/main" val="362923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8256"/>
    </mc:Choice>
    <mc:Fallback>
      <p:transition advClick="0" advTm="8256"/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cs typeface="Arial"/>
              </a:rPr>
              <a:t>HR Plan                                                      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AED911C-1284-E5AC-E721-54D0C0E8EDFB}"/>
              </a:ext>
            </a:extLst>
          </p:cNvPr>
          <p:cNvGraphicFramePr>
            <a:graphicFrameLocks noGrp="1"/>
          </p:cNvGraphicFramePr>
          <p:nvPr/>
        </p:nvGraphicFramePr>
        <p:xfrm>
          <a:off x="335823" y="1116038"/>
          <a:ext cx="11520353" cy="50540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76325">
                  <a:extLst>
                    <a:ext uri="{9D8B030D-6E8A-4147-A177-3AD203B41FA5}">
                      <a16:colId xmlns:a16="http://schemas.microsoft.com/office/drawing/2014/main" val="544448931"/>
                    </a:ext>
                  </a:extLst>
                </a:gridCol>
                <a:gridCol w="665936">
                  <a:extLst>
                    <a:ext uri="{9D8B030D-6E8A-4147-A177-3AD203B41FA5}">
                      <a16:colId xmlns:a16="http://schemas.microsoft.com/office/drawing/2014/main" val="1224151799"/>
                    </a:ext>
                  </a:extLst>
                </a:gridCol>
                <a:gridCol w="225879">
                  <a:extLst>
                    <a:ext uri="{9D8B030D-6E8A-4147-A177-3AD203B41FA5}">
                      <a16:colId xmlns:a16="http://schemas.microsoft.com/office/drawing/2014/main" val="135003344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35060972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429018207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963828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55641936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8851572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818749762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70019454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1886288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946481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472188665"/>
                    </a:ext>
                  </a:extLst>
                </a:gridCol>
                <a:gridCol w="369020">
                  <a:extLst>
                    <a:ext uri="{9D8B030D-6E8A-4147-A177-3AD203B41FA5}">
                      <a16:colId xmlns:a16="http://schemas.microsoft.com/office/drawing/2014/main" val="667249326"/>
                    </a:ext>
                  </a:extLst>
                </a:gridCol>
                <a:gridCol w="659922">
                  <a:extLst>
                    <a:ext uri="{9D8B030D-6E8A-4147-A177-3AD203B41FA5}">
                      <a16:colId xmlns:a16="http://schemas.microsoft.com/office/drawing/2014/main" val="2457479229"/>
                    </a:ext>
                  </a:extLst>
                </a:gridCol>
                <a:gridCol w="707415">
                  <a:extLst>
                    <a:ext uri="{9D8B030D-6E8A-4147-A177-3AD203B41FA5}">
                      <a16:colId xmlns:a16="http://schemas.microsoft.com/office/drawing/2014/main" val="405730263"/>
                    </a:ext>
                  </a:extLst>
                </a:gridCol>
                <a:gridCol w="274636">
                  <a:extLst>
                    <a:ext uri="{9D8B030D-6E8A-4147-A177-3AD203B41FA5}">
                      <a16:colId xmlns:a16="http://schemas.microsoft.com/office/drawing/2014/main" val="14116598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285970210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916413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56052752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814303533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250683524"/>
                    </a:ext>
                  </a:extLst>
                </a:gridCol>
              </a:tblGrid>
              <a:tr h="442537">
                <a:tc rowSpan="2">
                  <a:txBody>
                    <a:bodyPr/>
                    <a:lstStyle/>
                    <a:p>
                      <a:pPr marL="0" algn="ctr" defTabSz="1086950" rtl="1" eaLnBrk="1" latinLnBrk="0" hangingPunct="1"/>
                      <a:r>
                        <a:rPr lang="en-US" sz="1600" b="0"/>
                        <a:t>HC</a:t>
                      </a:r>
                      <a:endParaRPr lang="en-GB" sz="1600" b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US" sz="1600" b="0"/>
                        <a:t>2024A</a:t>
                      </a:r>
                      <a:endParaRPr lang="en-GB" sz="16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5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4-2025 Incr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2025 Onboarding plan</a:t>
                      </a:r>
                      <a:endParaRPr lang="en-GB" sz="16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2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3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4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169114"/>
                  </a:ext>
                </a:extLst>
              </a:tr>
              <a:tr h="4425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58684"/>
                  </a:ext>
                </a:extLst>
              </a:tr>
              <a:tr h="529491">
                <a:tc>
                  <a:txBody>
                    <a:bodyPr/>
                    <a:lstStyle/>
                    <a:p>
                      <a:pPr marL="0" algn="ctr" defTabSz="1086950" rtl="1" eaLnBrk="1" latinLnBrk="0" hangingPunct="1"/>
                      <a:endParaRPr lang="en-GB" sz="1600" b="1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23571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Produ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811991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R&amp;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5845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GT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98086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Ops.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240150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Analytics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4889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64036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7647226-23F2-D4AD-AF95-68B1CED6CC09}"/>
              </a:ext>
            </a:extLst>
          </p:cNvPr>
          <p:cNvSpPr txBox="1"/>
          <p:nvPr/>
        </p:nvSpPr>
        <p:spPr>
          <a:xfrm>
            <a:off x="412694" y="6452443"/>
            <a:ext cx="61068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cs typeface="Arial"/>
              </a:rPr>
              <a:t>EM = Emerging Market, MM = Mature Market, SC = Subcontractors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494128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32FEF5-FC76-0D71-DCEE-57B32F62DF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541125-6E44-AD68-DBE9-4A3E5296D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49009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57FED2-F7CA-A7A7-D9BD-A58DF62544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Fraud Risk (Retail)</a:t>
            </a:r>
          </a:p>
          <a:p>
            <a:pPr marL="414390" lvl="1" indent="0" algn="l" rtl="0"/>
            <a:r>
              <a:rPr lang="en-US" dirty="0"/>
              <a:t>Synthetic Identities</a:t>
            </a:r>
          </a:p>
          <a:p>
            <a:pPr marL="414390" lvl="1" indent="0" algn="l" rtl="0"/>
            <a:r>
              <a:rPr lang="en-US" dirty="0"/>
              <a:t>Stolen Identities</a:t>
            </a:r>
          </a:p>
          <a:p>
            <a:pPr marL="414390" lvl="1" indent="0" algn="l" rtl="0"/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Party (bad actor)</a:t>
            </a:r>
          </a:p>
          <a:p>
            <a:pPr algn="l" rtl="0"/>
            <a:r>
              <a:rPr lang="en-US" dirty="0"/>
              <a:t>AML Risk - ?</a:t>
            </a:r>
          </a:p>
          <a:p>
            <a:pPr algn="l" rtl="0"/>
            <a:r>
              <a:rPr lang="en-US" dirty="0"/>
              <a:t>Unique differentiation (to be validated) – leverage Actimize’s view on accounts linked to the </a:t>
            </a:r>
            <a:r>
              <a:rPr lang="en-US"/>
              <a:t>onboarded entity </a:t>
            </a:r>
            <a:endParaRPr lang="en-US" dirty="0"/>
          </a:p>
          <a:p>
            <a:pPr lvl="1" algn="l" rtl="0"/>
            <a:endParaRPr lang="en-US" dirty="0"/>
          </a:p>
          <a:p>
            <a:pPr lvl="1"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F24DA4-BD65-DBE3-6AA1-0DACC9307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boarding Consortium Off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0953C-5F3C-EBB7-EAA4-134AA63E29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6595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385923-78FD-5360-FFEC-D082AFF27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5CC614-5241-5E6E-00E7-744FE933D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4472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35DF38-1432-443A-A6C9-24586C6F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0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35DF38-1432-443A-A6C9-24586C6F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E6B4A-B0C7-4280-90E3-38C95F262A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Corporate Development definition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793A8-D620-6A44-98B6-3B9A4AC3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6" y="947528"/>
            <a:ext cx="6013387" cy="4602275"/>
          </a:xfrm>
        </p:spPr>
        <p:txBody>
          <a:bodyPr vert="horz"/>
          <a:lstStyle/>
          <a:p>
            <a:pPr marL="92075" indent="15875" defTabSz="941900" eaLnBrk="0" hangingPunct="0">
              <a:lnSpc>
                <a:spcPts val="5354"/>
              </a:lnSpc>
              <a:tabLst>
                <a:tab pos="5754517" algn="r"/>
              </a:tabLst>
            </a:pPr>
            <a:r>
              <a:rPr lang="en-US" b="1" u="sng" cap="all" spc="-119" dirty="0" err="1">
                <a:latin typeface="Arial Narrow" panose="020B0606020202030204" pitchFamily="34" charset="0"/>
              </a:rPr>
              <a:t>FC&amp;c</a:t>
            </a:r>
            <a:r>
              <a:rPr lang="en-US" b="1" u="sng" cap="all" spc="-119" dirty="0">
                <a:latin typeface="Arial Narrow" panose="020B0606020202030204" pitchFamily="34" charset="0"/>
              </a:rPr>
              <a:t> Consortium definition</a:t>
            </a:r>
            <a:r>
              <a:rPr lang="en-US" b="1" u="sng" cap="all" spc="-119" baseline="30000" dirty="0">
                <a:latin typeface="Arial Narrow" panose="020B0606020202030204" pitchFamily="34" charset="0"/>
              </a:rPr>
              <a:t>1</a:t>
            </a:r>
            <a:r>
              <a:rPr lang="en-US" b="1" u="sng" cap="all" spc="-119" dirty="0">
                <a:latin typeface="Arial Narrow" panose="020B0606020202030204" pitchFamily="34" charset="0"/>
              </a:rPr>
              <a:t>: </a:t>
            </a:r>
            <a:br>
              <a:rPr lang="en-US" b="1" u="sng" cap="all" spc="-119" dirty="0">
                <a:latin typeface="Arial Narrow" panose="020B0606020202030204" pitchFamily="34" charset="0"/>
              </a:rPr>
            </a:br>
            <a:r>
              <a:rPr lang="en-US" b="1" cap="all" spc="-119" dirty="0">
                <a:latin typeface="Arial Narrow" panose="020B0606020202030204" pitchFamily="34" charset="0"/>
              </a:rPr>
              <a:t>A system designed to improve </a:t>
            </a:r>
            <a:r>
              <a:rPr lang="en-US" b="1" u="sng" cap="all" spc="-119" dirty="0">
                <a:latin typeface="Arial Narrow" panose="020B0606020202030204" pitchFamily="34" charset="0"/>
              </a:rPr>
              <a:t>risk detection and mitigation </a:t>
            </a:r>
            <a:r>
              <a:rPr lang="en-US" b="1" cap="all" spc="-119" dirty="0">
                <a:latin typeface="Arial Narrow" panose="020B0606020202030204" pitchFamily="34" charset="0"/>
              </a:rPr>
              <a:t>via Collective intelligence , capable of inter</a:t>
            </a:r>
            <a:r>
              <a:rPr lang="he-IL" b="1" cap="all" spc="-119" dirty="0">
                <a:latin typeface="Arial Narrow" panose="020B0606020202030204" pitchFamily="34" charset="0"/>
              </a:rPr>
              <a:t>-</a:t>
            </a:r>
            <a:r>
              <a:rPr lang="en-US" b="1" cap="all" spc="-119" dirty="0">
                <a:latin typeface="Arial Narrow" panose="020B0606020202030204" pitchFamily="34" charset="0"/>
              </a:rPr>
              <a:t>institution data sharing</a:t>
            </a:r>
            <a:br>
              <a:rPr lang="en-US" b="1" cap="all" spc="-119" dirty="0">
                <a:latin typeface="Arial Narrow" panose="020B060602020203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414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ECA2D0-8762-724A-9481-B2640CCFB7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7237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ECA2D0-8762-724A-9481-B2640CCFB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58147EC-81B9-2348-A649-1DA7F0906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195913"/>
            <a:ext cx="11286067" cy="696186"/>
          </a:xfrm>
        </p:spPr>
        <p:txBody>
          <a:bodyPr vert="horz"/>
          <a:lstStyle/>
          <a:p>
            <a:r>
              <a:rPr lang="en-GB" dirty="0"/>
              <a:t>Categories of derived value with consorti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7D8B9E-73B6-3343-9B88-65BFF489D3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6D27-B632-A944-9F8A-669FEFD2F354}"/>
              </a:ext>
            </a:extLst>
          </p:cNvPr>
          <p:cNvSpPr/>
          <p:nvPr/>
        </p:nvSpPr>
        <p:spPr>
          <a:xfrm>
            <a:off x="881045" y="1356139"/>
            <a:ext cx="5181600" cy="4647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203616-85CA-8A44-843C-14FD19931CB2}"/>
              </a:ext>
            </a:extLst>
          </p:cNvPr>
          <p:cNvSpPr txBox="1"/>
          <p:nvPr/>
        </p:nvSpPr>
        <p:spPr>
          <a:xfrm>
            <a:off x="860823" y="6130306"/>
            <a:ext cx="5201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1086950">
              <a:defRPr/>
            </a:pPr>
            <a:r>
              <a:rPr lang="en-US" b="1" dirty="0">
                <a:solidFill>
                  <a:schemeClr val="dk1"/>
                </a:solidFill>
              </a:rPr>
              <a:t>Execution 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C5D6D-F93F-0E42-995C-A2A8AC22D7E0}"/>
              </a:ext>
            </a:extLst>
          </p:cNvPr>
          <p:cNvSpPr txBox="1"/>
          <p:nvPr/>
        </p:nvSpPr>
        <p:spPr>
          <a:xfrm rot="16200000">
            <a:off x="-1647392" y="3495022"/>
            <a:ext cx="4647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Consortium value addi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0324FE-EBCE-0B47-94EA-621E5B8F4D90}"/>
              </a:ext>
            </a:extLst>
          </p:cNvPr>
          <p:cNvCxnSpPr>
            <a:cxnSpLocks/>
            <a:stCxn id="6" idx="1"/>
            <a:endCxn id="6" idx="3"/>
          </p:cNvCxnSpPr>
          <p:nvPr/>
        </p:nvCxnSpPr>
        <p:spPr>
          <a:xfrm>
            <a:off x="881045" y="3679687"/>
            <a:ext cx="518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B85A9D0-0A20-034E-BF2C-FBFCEB8D81A5}"/>
              </a:ext>
            </a:extLst>
          </p:cNvPr>
          <p:cNvCxnSpPr>
            <a:cxnSpLocks/>
            <a:stCxn id="6" idx="0"/>
            <a:endCxn id="6" idx="2"/>
          </p:cNvCxnSpPr>
          <p:nvPr/>
        </p:nvCxnSpPr>
        <p:spPr>
          <a:xfrm>
            <a:off x="3471845" y="1356139"/>
            <a:ext cx="0" cy="4647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D44438-C16A-C645-9D55-0679E50821D5}"/>
              </a:ext>
            </a:extLst>
          </p:cNvPr>
          <p:cNvSpPr txBox="1"/>
          <p:nvPr/>
        </p:nvSpPr>
        <p:spPr>
          <a:xfrm>
            <a:off x="2046216" y="4810016"/>
            <a:ext cx="958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rend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556603-5FC9-5D49-89CD-FCDEDD8D12AD}"/>
              </a:ext>
            </a:extLst>
          </p:cNvPr>
          <p:cNvSpPr txBox="1"/>
          <p:nvPr/>
        </p:nvSpPr>
        <p:spPr>
          <a:xfrm>
            <a:off x="4014147" y="1834245"/>
            <a:ext cx="1766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ntiti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F90C1C-0F48-B647-88F0-97E558664E9B}"/>
              </a:ext>
            </a:extLst>
          </p:cNvPr>
          <p:cNvSpPr/>
          <p:nvPr/>
        </p:nvSpPr>
        <p:spPr>
          <a:xfrm>
            <a:off x="1614216" y="4795274"/>
            <a:ext cx="432000" cy="432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C596DB-FDD8-A041-9E56-6FA01A2FAD5B}"/>
              </a:ext>
            </a:extLst>
          </p:cNvPr>
          <p:cNvSpPr/>
          <p:nvPr/>
        </p:nvSpPr>
        <p:spPr>
          <a:xfrm>
            <a:off x="5022224" y="1787898"/>
            <a:ext cx="432000" cy="45275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BACE4-E0AA-5F4E-8153-5AC8931C7128}"/>
              </a:ext>
            </a:extLst>
          </p:cNvPr>
          <p:cNvSpPr/>
          <p:nvPr/>
        </p:nvSpPr>
        <p:spPr>
          <a:xfrm>
            <a:off x="2863424" y="3716759"/>
            <a:ext cx="431999" cy="4274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8F64AC-D689-4D17-A7FF-9366DBB19ACB}"/>
              </a:ext>
            </a:extLst>
          </p:cNvPr>
          <p:cNvSpPr txBox="1"/>
          <p:nvPr/>
        </p:nvSpPr>
        <p:spPr>
          <a:xfrm>
            <a:off x="3295424" y="3716759"/>
            <a:ext cx="215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e-IL"/>
            </a:defPPr>
          </a:lstStyle>
          <a:p>
            <a:r>
              <a:rPr lang="en-GB" dirty="0"/>
              <a:t>Behaviou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7C3D1C-3BAB-C449-BD70-CD66832D1F21}"/>
              </a:ext>
            </a:extLst>
          </p:cNvPr>
          <p:cNvCxnSpPr/>
          <p:nvPr/>
        </p:nvCxnSpPr>
        <p:spPr>
          <a:xfrm>
            <a:off x="881045" y="6003235"/>
            <a:ext cx="5181591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494DC3-2AA6-2A44-9A13-A25FE3A6848F}"/>
              </a:ext>
            </a:extLst>
          </p:cNvPr>
          <p:cNvCxnSpPr/>
          <p:nvPr/>
        </p:nvCxnSpPr>
        <p:spPr>
          <a:xfrm flipV="1">
            <a:off x="881045" y="1356139"/>
            <a:ext cx="0" cy="46470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238D225-59F5-6C4C-8843-929E5E36FA93}"/>
              </a:ext>
            </a:extLst>
          </p:cNvPr>
          <p:cNvSpPr txBox="1"/>
          <p:nvPr/>
        </p:nvSpPr>
        <p:spPr>
          <a:xfrm>
            <a:off x="6221531" y="1348702"/>
            <a:ext cx="5478974" cy="5027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Trends – </a:t>
            </a:r>
            <a:r>
              <a:rPr lang="en-GB" dirty="0"/>
              <a:t>Insights based on aggregated &amp; anonymized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Fraud Insights Report, on-demand dashbo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Behaviour – </a:t>
            </a:r>
            <a:r>
              <a:rPr lang="en-GB" dirty="0"/>
              <a:t>models &amp; rules extracted from the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Collective Intelligence Models, Gen-AI rules sugges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Entities</a:t>
            </a:r>
            <a:r>
              <a:rPr lang="en-GB" dirty="0"/>
              <a:t> – risk assessing individual entities across the consortium.</a:t>
            </a:r>
          </a:p>
          <a:p>
            <a:pPr>
              <a:lnSpc>
                <a:spcPct val="150000"/>
              </a:lnSpc>
            </a:pPr>
            <a:r>
              <a:rPr lang="en-GB" dirty="0"/>
              <a:t>     </a:t>
            </a:r>
            <a:r>
              <a:rPr lang="en-GB" b="1" dirty="0"/>
              <a:t>examples</a:t>
            </a:r>
            <a:r>
              <a:rPr lang="en-GB" dirty="0"/>
              <a:t>: risk / trust level associated with    specific person, account, device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BAF708-FEB1-0E25-FDBD-AA5AB85911D4}"/>
              </a:ext>
            </a:extLst>
          </p:cNvPr>
          <p:cNvSpPr/>
          <p:nvPr/>
        </p:nvSpPr>
        <p:spPr>
          <a:xfrm>
            <a:off x="3835153" y="1571348"/>
            <a:ext cx="1837675" cy="88775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03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886EBF-F832-A3B8-A420-FDF5970527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algn="l" rtl="0"/>
            <a:r>
              <a:rPr lang="en-US" b="1" dirty="0"/>
              <a:t>Market Footprint </a:t>
            </a:r>
            <a:r>
              <a:rPr lang="en-US" dirty="0"/>
              <a:t>– we have substantial share of the Financial Services market including the largest FIs with majority of the data</a:t>
            </a:r>
          </a:p>
          <a:p>
            <a:pPr algn="l" rtl="0"/>
            <a:r>
              <a:rPr lang="en-US" dirty="0"/>
              <a:t>Pervasive </a:t>
            </a:r>
            <a:r>
              <a:rPr lang="en-US" b="1" dirty="0"/>
              <a:t>view across the customer lifecycle </a:t>
            </a:r>
            <a:r>
              <a:rPr lang="en-US" dirty="0"/>
              <a:t>- we see both risk detection &amp; </a:t>
            </a:r>
            <a:r>
              <a:rPr lang="en-US" u="sng" dirty="0"/>
              <a:t>risk decision </a:t>
            </a:r>
            <a:r>
              <a:rPr lang="en-US" dirty="0"/>
              <a:t>(Case Mgmt.) across the customer lifecycle.</a:t>
            </a:r>
          </a:p>
          <a:p>
            <a:pPr algn="l" rtl="0"/>
            <a:r>
              <a:rPr lang="en-US" b="1" dirty="0"/>
              <a:t>Brand &amp; Trust </a:t>
            </a:r>
            <a:r>
              <a:rPr lang="en-US" dirty="0"/>
              <a:t>– key for establishing intelligence sha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99BFA7-7D9B-A07A-6B0B-58C983900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l" rtl="0"/>
            <a:r>
              <a:rPr lang="en-US" dirty="0"/>
              <a:t>The </a:t>
            </a:r>
            <a:r>
              <a:rPr lang="en-US" b="1" dirty="0"/>
              <a:t>rise of scams &amp; money mules </a:t>
            </a:r>
            <a:r>
              <a:rPr lang="en-US" dirty="0"/>
              <a:t>together with faster payments adoption drives the need for </a:t>
            </a:r>
            <a:r>
              <a:rPr lang="en-US" b="1" dirty="0"/>
              <a:t>cross FI intelligence sharing &amp; openness to collabor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oth during detection &amp; investigation / recovery</a:t>
            </a:r>
          </a:p>
          <a:p>
            <a:pPr algn="l" rtl="0"/>
            <a:r>
              <a:rPr lang="en-US" dirty="0"/>
              <a:t>Digitization drives need for consortiums to </a:t>
            </a:r>
            <a:r>
              <a:rPr lang="en-US" b="1" dirty="0"/>
              <a:t>strengthen onboarding process</a:t>
            </a:r>
            <a:r>
              <a:rPr lang="en-US" dirty="0"/>
              <a:t>.</a:t>
            </a:r>
          </a:p>
          <a:p>
            <a:pPr algn="l" rtl="0"/>
            <a:r>
              <a:rPr lang="en-US" dirty="0"/>
              <a:t>Cloud migration forces FIs to share PII with vendor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1A471C-14CE-BB99-5B6C-DAAC36335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drivers for FC&amp;C Consortiu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A64913-408C-F877-B39C-D681CBD4E0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n-US" dirty="0"/>
              <a:t>Why Now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CE6E4-FA50-1EA2-02C6-0190060555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DFC62E-CD65-0E74-4B6A-393DBA91EC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l" rtl="0"/>
            <a:r>
              <a:rPr lang="en-US" dirty="0"/>
              <a:t>Why NICE Actimize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CFC9C6-0F2F-6D57-ABE5-E19D37FD2B6B}"/>
              </a:ext>
            </a:extLst>
          </p:cNvPr>
          <p:cNvSpPr txBox="1"/>
          <p:nvPr/>
        </p:nvSpPr>
        <p:spPr>
          <a:xfrm>
            <a:off x="1833272" y="5752200"/>
            <a:ext cx="3384223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Customers are asking for it</a:t>
            </a:r>
          </a:p>
        </p:txBody>
      </p:sp>
    </p:spTree>
    <p:extLst>
      <p:ext uri="{BB962C8B-B14F-4D97-AF65-F5344CB8AC3E}">
        <p14:creationId xmlns:p14="http://schemas.microsoft.com/office/powerpoint/2010/main" val="1423777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1A710-0661-F278-AA1F-37B2615A5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C&amp;C Consortium Vis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BB93CC-05C8-EB0D-878F-45AC8B7EB4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C9985E-C2C2-2004-07BC-993D3D9C25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l" rtl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444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FC&amp;C Consortiums by use case &amp; ent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 / ID</a:t>
            </a:r>
          </a:p>
          <a:p>
            <a:r>
              <a:rPr lang="en-US" sz="1200" dirty="0"/>
              <a:t>Phone</a:t>
            </a:r>
          </a:p>
        </p:txBody>
      </p:sp>
      <p:pic>
        <p:nvPicPr>
          <p:cNvPr id="123" name="Picture 19" descr="Cifas - Wikipedia">
            <a:extLst>
              <a:ext uri="{FF2B5EF4-FFF2-40B4-BE49-F238E27FC236}">
                <a16:creationId xmlns:a16="http://schemas.microsoft.com/office/drawing/2014/main" id="{B24A5AFE-730A-4E5C-42C8-DF689475B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364" b="90000" l="1996" r="97033">
                        <a14:foregroundMark x1="24002" y1="41818" x2="24002" y2="41818"/>
                        <a14:foregroundMark x1="44229" y1="34636" x2="44229" y2="34636"/>
                        <a14:foregroundMark x1="33225" y1="62818" x2="33225" y2="62818"/>
                        <a14:foregroundMark x1="19525" y1="77000" x2="19525" y2="77000"/>
                        <a14:foregroundMark x1="1996" y1="58455" x2="1996" y2="58455"/>
                        <a14:foregroundMark x1="84844" y1="43818" x2="84844" y2="43818"/>
                        <a14:foregroundMark x1="57497" y1="19091" x2="57497" y2="19091"/>
                        <a14:foregroundMark x1="59061" y1="4364" x2="59061" y2="4364"/>
                        <a14:foregroundMark x1="66127" y1="17909" x2="66127" y2="17909"/>
                        <a14:foregroundMark x1="57120" y1="27273" x2="57120" y2="27273"/>
                        <a14:foregroundMark x1="67422" y1="19364" x2="67422" y2="19364"/>
                        <a14:foregroundMark x1="66990" y1="21273" x2="67098" y2="15364"/>
                        <a14:foregroundMark x1="97033" y1="71545" x2="97033" y2="715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15" y="4635539"/>
            <a:ext cx="496569" cy="29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03FE12F5-4DFE-0DDF-BAD6-A06E584DCCCC}"/>
              </a:ext>
            </a:extLst>
          </p:cNvPr>
          <p:cNvSpPr txBox="1"/>
          <p:nvPr/>
        </p:nvSpPr>
        <p:spPr>
          <a:xfrm>
            <a:off x="1370326" y="4702923"/>
            <a:ext cx="398029" cy="237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]</a:t>
            </a:r>
          </a:p>
        </p:txBody>
      </p:sp>
      <p:pic>
        <p:nvPicPr>
          <p:cNvPr id="125" name="Picture 2" descr="Socure Closes New Round of Funding, with Participation from Major Banks |  Business Wire">
            <a:extLst>
              <a:ext uri="{FF2B5EF4-FFF2-40B4-BE49-F238E27FC236}">
                <a16:creationId xmlns:a16="http://schemas.microsoft.com/office/drawing/2014/main" id="{EB1F60F7-F54E-46D0-C3A3-39363E80AE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27667" y1="53270" x2="27667" y2="53270"/>
                        <a14:foregroundMark x1="29500" y1="54705" x2="29500" y2="54705"/>
                        <a14:foregroundMark x1="41583" y1="48644" x2="41583" y2="48644"/>
                        <a14:foregroundMark x1="53167" y1="49442" x2="53167" y2="49442"/>
                        <a14:foregroundMark x1="58750" y1="49123" x2="58750" y2="49123"/>
                        <a14:foregroundMark x1="70167" y1="51037" x2="70167" y2="51037"/>
                        <a14:foregroundMark x1="73000" y1="51196" x2="73000" y2="51196"/>
                        <a14:foregroundMark x1="80667" y1="46890" x2="80667" y2="46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150" t="22283" r="2150" b="23395"/>
          <a:stretch/>
        </p:blipFill>
        <p:spPr bwMode="auto">
          <a:xfrm>
            <a:off x="2217603" y="3211128"/>
            <a:ext cx="1012114" cy="287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930437E0-4739-F42C-CBD9-D84298AF1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964" y="2791401"/>
            <a:ext cx="999067" cy="171873"/>
          </a:xfrm>
          <a:prstGeom prst="rect">
            <a:avLst/>
          </a:prstGeom>
          <a:noFill/>
        </p:spPr>
      </p:pic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85468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1073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490124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005804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164610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211175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CECFA13-D8F5-1476-7140-87390F458DFC}"/>
              </a:ext>
            </a:extLst>
          </p:cNvPr>
          <p:cNvSpPr txBox="1"/>
          <p:nvPr/>
        </p:nvSpPr>
        <p:spPr>
          <a:xfrm>
            <a:off x="8060899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571C0B4C-603A-CDDF-45B4-7709D046F2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0935" y="3140690"/>
            <a:ext cx="1258782" cy="267335"/>
          </a:xfrm>
          <a:prstGeom prst="rect">
            <a:avLst/>
          </a:prstGeom>
        </p:spPr>
      </p:pic>
      <p:pic>
        <p:nvPicPr>
          <p:cNvPr id="139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2025BFBB-51F8-205B-991D-1C594272C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273" y="2890795"/>
            <a:ext cx="999067" cy="171873"/>
          </a:xfrm>
          <a:prstGeom prst="rect">
            <a:avLst/>
          </a:prstGeom>
          <a:noFill/>
        </p:spPr>
      </p:pic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078708" y="5167359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459730" y="5571513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727D1448-C4FA-B1BE-8430-253F87DE0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49247" y="2843063"/>
            <a:ext cx="1258782" cy="267335"/>
          </a:xfrm>
          <a:prstGeom prst="rect">
            <a:avLst/>
          </a:prstGeom>
        </p:spPr>
      </p:pic>
      <p:pic>
        <p:nvPicPr>
          <p:cNvPr id="1026" name="Picture 2" descr="Ekata (US) - Identity Verification &amp; Fraud Prevention Case Study||Ekata  (US) - Identity Verification &amp; Fraud Prevention Case Study">
            <a:extLst>
              <a:ext uri="{FF2B5EF4-FFF2-40B4-BE49-F238E27FC236}">
                <a16:creationId xmlns:a16="http://schemas.microsoft.com/office/drawing/2014/main" id="{1DD00760-3993-5ABC-32F2-51ACC50A5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414" y="3841462"/>
            <a:ext cx="859339" cy="28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Experian - Wikipedia">
            <a:extLst>
              <a:ext uri="{FF2B5EF4-FFF2-40B4-BE49-F238E27FC236}">
                <a16:creationId xmlns:a16="http://schemas.microsoft.com/office/drawing/2014/main" id="{5B1DFF34-21AF-ABA6-2681-11DA58F79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44" y="3798500"/>
            <a:ext cx="788128" cy="2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35837E8B-390F-F978-D117-8F8C5E9EED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3004" y="3208345"/>
            <a:ext cx="868093" cy="234385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D322C8DC-8290-B555-0D1E-3CDEF04500F1}"/>
              </a:ext>
            </a:extLst>
          </p:cNvPr>
          <p:cNvSpPr txBox="1"/>
          <p:nvPr/>
        </p:nvSpPr>
        <p:spPr>
          <a:xfrm>
            <a:off x="9316164" y="4432019"/>
            <a:ext cx="1213488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MB Focused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118A0A29-86E5-9A2E-EC21-32D948051646}"/>
              </a:ext>
            </a:extLst>
          </p:cNvPr>
          <p:cNvCxnSpPr>
            <a:cxnSpLocks/>
          </p:cNvCxnSpPr>
          <p:nvPr/>
        </p:nvCxnSpPr>
        <p:spPr>
          <a:xfrm flipH="1" flipV="1">
            <a:off x="9766535" y="3429000"/>
            <a:ext cx="513059" cy="10015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0" name="Picture 6" descr="AWS Marketplace: SEON">
            <a:extLst>
              <a:ext uri="{FF2B5EF4-FFF2-40B4-BE49-F238E27FC236}">
                <a16:creationId xmlns:a16="http://schemas.microsoft.com/office/drawing/2014/main" id="{14E1F55C-5CD7-70A4-91E8-1B0039AC1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422" y="3473840"/>
            <a:ext cx="853469" cy="35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4" descr="Press Kit | FICO">
            <a:extLst>
              <a:ext uri="{FF2B5EF4-FFF2-40B4-BE49-F238E27FC236}">
                <a16:creationId xmlns:a16="http://schemas.microsoft.com/office/drawing/2014/main" id="{9870B6C9-99B3-B6E5-CFA6-1F79BCBA6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006" y="5346746"/>
            <a:ext cx="450785" cy="138420"/>
          </a:xfrm>
          <a:prstGeom prst="rect">
            <a:avLst/>
          </a:prstGeom>
          <a:noFill/>
        </p:spPr>
      </p:pic>
      <p:pic>
        <p:nvPicPr>
          <p:cNvPr id="159" name="Picture 52" descr="29 Fraud.net Customer Reviews &amp; References | FeaturedCustomers">
            <a:extLst>
              <a:ext uri="{FF2B5EF4-FFF2-40B4-BE49-F238E27FC236}">
                <a16:creationId xmlns:a16="http://schemas.microsoft.com/office/drawing/2014/main" id="{30C6E923-234F-81B4-CE2D-B30E2DF1C6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8" t="-10254" r="-2" b="-1"/>
          <a:stretch/>
        </p:blipFill>
        <p:spPr bwMode="auto">
          <a:xfrm>
            <a:off x="5741441" y="3303902"/>
            <a:ext cx="851171" cy="254575"/>
          </a:xfrm>
          <a:prstGeom prst="rect">
            <a:avLst/>
          </a:prstGeom>
          <a:noFill/>
        </p:spPr>
      </p:pic>
      <p:pic>
        <p:nvPicPr>
          <p:cNvPr id="160" name="Picture 2" descr="FinovateSpring 2017 – IBM Trusteer - Finovate">
            <a:extLst>
              <a:ext uri="{FF2B5EF4-FFF2-40B4-BE49-F238E27FC236}">
                <a16:creationId xmlns:a16="http://schemas.microsoft.com/office/drawing/2014/main" id="{4E156046-63D9-2B36-9DC7-9A45FF6002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15000" y1="50278" x2="15000" y2="50278"/>
                        <a14:foregroundMark x1="26094" y1="42917" x2="26094" y2="42917"/>
                        <a14:foregroundMark x1="40859" y1="43472" x2="40859" y2="43472"/>
                        <a14:foregroundMark x1="48125" y1="47917" x2="48125" y2="47917"/>
                        <a14:foregroundMark x1="51406" y1="47917" x2="51406" y2="47917"/>
                        <a14:foregroundMark x1="59844" y1="47500" x2="59844" y2="47500"/>
                        <a14:foregroundMark x1="66641" y1="46111" x2="66641" y2="46111"/>
                        <a14:foregroundMark x1="72031" y1="46528" x2="72266" y2="46528"/>
                        <a14:foregroundMark x1="78594" y1="47222" x2="79609" y2="47500"/>
                        <a14:foregroundMark x1="84063" y1="47639" x2="84063" y2="47639"/>
                        <a14:foregroundMark x1="22031" y1="50278" x2="22031" y2="50278"/>
                        <a14:backgroundMark x1="18672" y1="46111" x2="18672" y2="46111"/>
                        <a14:backgroundMark x1="19531" y1="51389" x2="19531" y2="51389"/>
                        <a14:backgroundMark x1="71875" y1="49306" x2="71875" y2="49306"/>
                        <a14:backgroundMark x1="78594" y1="49306" x2="78594" y2="493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04" t="38998" r="10856" b="36384"/>
          <a:stretch/>
        </p:blipFill>
        <p:spPr bwMode="auto">
          <a:xfrm>
            <a:off x="5849124" y="4020608"/>
            <a:ext cx="969764" cy="17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Mastercard looks beyond card as Vocalink brings real-time payments to  Canada | FinTech Alliance">
            <a:extLst>
              <a:ext uri="{FF2B5EF4-FFF2-40B4-BE49-F238E27FC236}">
                <a16:creationId xmlns:a16="http://schemas.microsoft.com/office/drawing/2014/main" id="{14B7B6F6-004C-9899-C6D7-771E17F80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230" y="4388104"/>
            <a:ext cx="788137" cy="22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BA CLEARING to enrich RT1 and STEP2 with fraud prevention and detection  capabilities">
            <a:extLst>
              <a:ext uri="{FF2B5EF4-FFF2-40B4-BE49-F238E27FC236}">
                <a16:creationId xmlns:a16="http://schemas.microsoft.com/office/drawing/2014/main" id="{96E8ED86-EA50-FF82-399E-EF9F15815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1" y="3498399"/>
            <a:ext cx="868093" cy="4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A38E6CD6-203A-AC24-719A-DC7E7C122E44}"/>
              </a:ext>
            </a:extLst>
          </p:cNvPr>
          <p:cNvSpPr txBox="1"/>
          <p:nvPr/>
        </p:nvSpPr>
        <p:spPr>
          <a:xfrm>
            <a:off x="6197332" y="2205360"/>
            <a:ext cx="1438846" cy="4616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ayment Scheme</a:t>
            </a:r>
            <a:br>
              <a:rPr lang="en-US" sz="1200" dirty="0"/>
            </a:br>
            <a:r>
              <a:rPr lang="en-US" sz="1200" dirty="0"/>
              <a:t>Specific</a:t>
            </a: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8B1CD82B-E3ED-C1AF-BDCB-915731E00572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820404" cy="1667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75601DA-7FD2-E4D0-090F-A05B449A1811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461831" cy="7935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CED9BBF-ACAC-FA45-85E8-8102FDCB34BE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399321" cy="164135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0981E3C-F46C-A623-2D46-070466400211}"/>
              </a:ext>
            </a:extLst>
          </p:cNvPr>
          <p:cNvSpPr txBox="1"/>
          <p:nvPr/>
        </p:nvSpPr>
        <p:spPr>
          <a:xfrm>
            <a:off x="8809014" y="2852828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S ZELLE]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E649DA3C-0FAE-5472-ADB4-B388ED7C607F}"/>
              </a:ext>
            </a:extLst>
          </p:cNvPr>
          <p:cNvSpPr txBox="1"/>
          <p:nvPr/>
        </p:nvSpPr>
        <p:spPr>
          <a:xfrm>
            <a:off x="7489279" y="3864270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SEPA]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8F74B587-A6E8-E3CD-D025-C34ED7CAE3BA}"/>
              </a:ext>
            </a:extLst>
          </p:cNvPr>
          <p:cNvSpPr txBox="1"/>
          <p:nvPr/>
        </p:nvSpPr>
        <p:spPr>
          <a:xfrm>
            <a:off x="7610611" y="4602753"/>
            <a:ext cx="6495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 FSP]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E4E9590-68CC-C60D-288B-226D4C29D2EB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AA2BD98-517D-61C4-00B2-721D61B247D1}"/>
              </a:ext>
            </a:extLst>
          </p:cNvPr>
          <p:cNvSpPr txBox="1"/>
          <p:nvPr/>
        </p:nvSpPr>
        <p:spPr>
          <a:xfrm>
            <a:off x="9857227" y="449459"/>
            <a:ext cx="202690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ork in Progress</a:t>
            </a:r>
          </a:p>
        </p:txBody>
      </p:sp>
      <p:pic>
        <p:nvPicPr>
          <p:cNvPr id="2" name="Picture 2" descr="Outseer – ITWay Hellas S.A.">
            <a:extLst>
              <a:ext uri="{FF2B5EF4-FFF2-40B4-BE49-F238E27FC236}">
                <a16:creationId xmlns:a16="http://schemas.microsoft.com/office/drawing/2014/main" id="{3E97A4EC-67E8-43A4-C8A6-D26EB4665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696" y="4244158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utseer – ITWay Hellas S.A.">
            <a:extLst>
              <a:ext uri="{FF2B5EF4-FFF2-40B4-BE49-F238E27FC236}">
                <a16:creationId xmlns:a16="http://schemas.microsoft.com/office/drawing/2014/main" id="{9E0AB046-8036-902C-A4B9-4302FED80F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782" y="3782324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28F23F6-329D-4A61-3FFF-4D1FC994CF07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Find Talent | GuruLink">
            <a:extLst>
              <a:ext uri="{FF2B5EF4-FFF2-40B4-BE49-F238E27FC236}">
                <a16:creationId xmlns:a16="http://schemas.microsoft.com/office/drawing/2014/main" id="{F6BF2E43-61FD-E54A-DF61-39FBCE3A2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6756" y="3846713"/>
            <a:ext cx="1291960" cy="426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Next-generation post-purchase solutions for dispute and fraud prevention |  Verifi Inc">
            <a:extLst>
              <a:ext uri="{FF2B5EF4-FFF2-40B4-BE49-F238E27FC236}">
                <a16:creationId xmlns:a16="http://schemas.microsoft.com/office/drawing/2014/main" id="{16A3FDDF-1595-D199-F5E0-46D4D0B9E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4577028"/>
            <a:ext cx="936415" cy="42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eyond compliance: AML solutions">
            <a:extLst>
              <a:ext uri="{FF2B5EF4-FFF2-40B4-BE49-F238E27FC236}">
                <a16:creationId xmlns:a16="http://schemas.microsoft.com/office/drawing/2014/main" id="{83E39F04-0475-189C-2080-31AAF46C9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3130143"/>
            <a:ext cx="898583" cy="34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5E98A11-F743-53C4-A7EB-5E589F09C88C}"/>
              </a:ext>
            </a:extLst>
          </p:cNvPr>
          <p:cNvSpPr txBox="1"/>
          <p:nvPr/>
        </p:nvSpPr>
        <p:spPr>
          <a:xfrm>
            <a:off x="9207427" y="6006514"/>
            <a:ext cx="985522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Cards &amp; Merchant focus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61E88C-2F31-36B0-433E-A48AA77F336E}"/>
              </a:ext>
            </a:extLst>
          </p:cNvPr>
          <p:cNvCxnSpPr>
            <a:cxnSpLocks/>
          </p:cNvCxnSpPr>
          <p:nvPr/>
        </p:nvCxnSpPr>
        <p:spPr>
          <a:xfrm flipV="1">
            <a:off x="9942891" y="4244158"/>
            <a:ext cx="985521" cy="17609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C0CFCB-19B3-23F7-DBFF-962D66643334}"/>
              </a:ext>
            </a:extLst>
          </p:cNvPr>
          <p:cNvCxnSpPr>
            <a:cxnSpLocks/>
          </p:cNvCxnSpPr>
          <p:nvPr/>
        </p:nvCxnSpPr>
        <p:spPr>
          <a:xfrm flipV="1">
            <a:off x="9960814" y="4940660"/>
            <a:ext cx="1006047" cy="10644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385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120" grpId="0" animBg="1"/>
      <p:bldP spid="121" grpId="0" animBg="1"/>
      <p:bldP spid="122" grpId="0"/>
      <p:bldP spid="124" grpId="0"/>
      <p:bldP spid="127" grpId="0" animBg="1"/>
      <p:bldP spid="128" grpId="0" animBg="1"/>
      <p:bldP spid="129" grpId="0" animBg="1"/>
      <p:bldP spid="130" grpId="0"/>
      <p:bldP spid="135" grpId="0" animBg="1"/>
      <p:bldP spid="136" grpId="0" animBg="1"/>
      <p:bldP spid="137" grpId="0"/>
      <p:bldP spid="141" grpId="0" animBg="1"/>
      <p:bldP spid="142" grpId="0" animBg="1"/>
      <p:bldP spid="150" grpId="0" animBg="1"/>
      <p:bldP spid="171" grpId="0" animBg="1"/>
      <p:bldP spid="183" grpId="0"/>
      <p:bldP spid="184" grpId="0"/>
      <p:bldP spid="185" grpId="0"/>
      <p:bldP spid="186" grpId="0" animBg="1"/>
      <p:bldP spid="9" grpId="0" animBg="1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A69DC-7F6C-E00F-F322-3E0283C4E289}"/>
              </a:ext>
            </a:extLst>
          </p:cNvPr>
          <p:cNvSpPr/>
          <p:nvPr/>
        </p:nvSpPr>
        <p:spPr>
          <a:xfrm>
            <a:off x="8926721" y="2438978"/>
            <a:ext cx="3408442" cy="3151724"/>
          </a:xfrm>
          <a:prstGeom prst="rect">
            <a:avLst/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NICE Actimize’s use case &amp; entity dominance today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7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</a:t>
            </a:r>
          </a:p>
          <a:p>
            <a:r>
              <a:rPr lang="en-US" sz="1200" dirty="0"/>
              <a:t>Phone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978976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7149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5025541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130096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32441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37097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477039" y="5231825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858061" y="5635979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107800-6F2E-F47B-439B-EBE7DB2DE3B7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93EF5186-E581-671E-C644-8FE3FB9530E1}"/>
              </a:ext>
            </a:extLst>
          </p:cNvPr>
          <p:cNvSpPr/>
          <p:nvPr/>
        </p:nvSpPr>
        <p:spPr>
          <a:xfrm rot="16200000">
            <a:off x="3312342" y="13878"/>
            <a:ext cx="3189278" cy="8039479"/>
          </a:xfrm>
          <a:prstGeom prst="triangle">
            <a:avLst>
              <a:gd name="adj" fmla="val 52002"/>
            </a:avLst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3AA73D-B948-1B63-C084-368D0003AC2C}"/>
              </a:ext>
            </a:extLst>
          </p:cNvPr>
          <p:cNvSpPr txBox="1"/>
          <p:nvPr/>
        </p:nvSpPr>
        <p:spPr>
          <a:xfrm>
            <a:off x="684111" y="5893487"/>
            <a:ext cx="5425456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Our current assets are mainly in </a:t>
            </a:r>
            <a:r>
              <a:rPr lang="en-US" b="1" dirty="0"/>
              <a:t>bank account intelligence</a:t>
            </a:r>
            <a:r>
              <a:rPr lang="en-US" dirty="0"/>
              <a:t> for </a:t>
            </a:r>
            <a:r>
              <a:rPr lang="en-US" b="1" dirty="0"/>
              <a:t>transaction monitoring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D31E447-0413-8D09-5A28-BE244B2E9C22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9BCE5F-EA2C-5E4C-8806-51BA7D7020F8}"/>
              </a:ext>
            </a:extLst>
          </p:cNvPr>
          <p:cNvSpPr txBox="1"/>
          <p:nvPr/>
        </p:nvSpPr>
        <p:spPr>
          <a:xfrm>
            <a:off x="8255310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</p:spTree>
    <p:extLst>
      <p:ext uri="{BB962C8B-B14F-4D97-AF65-F5344CB8AC3E}">
        <p14:creationId xmlns:p14="http://schemas.microsoft.com/office/powerpoint/2010/main" val="313562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B2934F-3770-7C23-2AAD-985A1B361B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Data assets, Use Case &amp; Region sensitive</a:t>
            </a:r>
          </a:p>
          <a:p>
            <a:pPr algn="l" rtl="0"/>
            <a:r>
              <a:rPr lang="en-US" dirty="0"/>
              <a:t>Acquiring a consortium “seed” to show value</a:t>
            </a:r>
          </a:p>
          <a:p>
            <a:pPr algn="l" rtl="0"/>
            <a:r>
              <a:rPr lang="en-US" dirty="0"/>
              <a:t>What makes our consortium unique?</a:t>
            </a:r>
          </a:p>
          <a:p>
            <a:pPr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5216FB-C404-0E45-169F-A57A399F8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en-US" dirty="0"/>
              <a:t>Key considerations in consortium priorities &amp; plan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08DB5D-E1B1-589E-92E2-8037FB8C0C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624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97FF4-DBDF-B779-73DB-E078E0F50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67F8C5-1080-1AC3-750D-C1FDA8B8A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</a:t>
            </a:r>
          </a:p>
        </p:txBody>
      </p:sp>
    </p:spTree>
    <p:extLst>
      <p:ext uri="{BB962C8B-B14F-4D97-AF65-F5344CB8AC3E}">
        <p14:creationId xmlns:p14="http://schemas.microsoft.com/office/powerpoint/2010/main" val="2558719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Master slide">
  <a:themeElements>
    <a:clrScheme name="Custom 6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23C9FF"/>
      </a:accent1>
      <a:accent2>
        <a:srgbClr val="0006FF"/>
      </a:accent2>
      <a:accent3>
        <a:srgbClr val="7300FF"/>
      </a:accent3>
      <a:accent4>
        <a:srgbClr val="FF2463"/>
      </a:accent4>
      <a:accent5>
        <a:srgbClr val="FF5E2A"/>
      </a:accent5>
      <a:accent6>
        <a:srgbClr val="00FFFF"/>
      </a:accent6>
      <a:hlink>
        <a:srgbClr val="23C9FF"/>
      </a:hlink>
      <a:folHlink>
        <a:srgbClr val="A5A5A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CE_Basic template_2022-TEST 1" id="{24513CFE-8529-44EA-A71F-8855581CED0B}" vid="{D0E706FE-0837-4239-8D0D-00177E2967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eef0281-e3d1-48de-8bbd-df2e7e85f998">
      <UserInfo>
        <DisplayName>Elad Nissenberg</DisplayName>
        <AccountId>10</AccountId>
        <AccountType/>
      </UserInfo>
      <UserInfo>
        <DisplayName>Eyal Palmor</DisplayName>
        <AccountId>19</AccountId>
        <AccountType/>
      </UserInfo>
      <UserInfo>
        <DisplayName>Meytal Melamed</DisplayName>
        <AccountId>18</AccountId>
        <AccountType/>
      </UserInfo>
      <UserInfo>
        <DisplayName>Bar Kinreich</DisplayName>
        <AccountId>16</AccountId>
        <AccountType/>
      </UserInfo>
      <UserInfo>
        <DisplayName>Itai Bloom</DisplayName>
        <AccountId>12</AccountId>
        <AccountType/>
      </UserInfo>
      <UserInfo>
        <DisplayName>Raz Yeor</DisplayName>
        <AccountId>32</AccountId>
        <AccountType/>
      </UserInfo>
      <UserInfo>
        <DisplayName>Jason Vinson</DisplayName>
        <AccountId>30</AccountId>
        <AccountType/>
      </UserInfo>
      <UserInfo>
        <DisplayName>Mike Macdonald</DisplayName>
        <AccountId>35</AccountId>
        <AccountType/>
      </UserInfo>
      <UserInfo>
        <DisplayName>Yuval Marco</DisplayName>
        <AccountId>25</AccountId>
        <AccountType/>
      </UserInfo>
    </SharedWithUsers>
    <TaxCatchAll xmlns="eeef0281-e3d1-48de-8bbd-df2e7e85f998" xsi:nil="true"/>
    <lcf76f155ced4ddcb4097134ff3c332f xmlns="75ad2b8d-6faf-4d87-9ad0-2400ed4879fa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F95EA89E20B4D8F27F964EFA6ABA1" ma:contentTypeVersion="19" ma:contentTypeDescription="Create a new document." ma:contentTypeScope="" ma:versionID="8f17d7eb9018d807b577d3cfc5f7ae24">
  <xsd:schema xmlns:xsd="http://www.w3.org/2001/XMLSchema" xmlns:xs="http://www.w3.org/2001/XMLSchema" xmlns:p="http://schemas.microsoft.com/office/2006/metadata/properties" xmlns:ns1="http://schemas.microsoft.com/sharepoint/v3" xmlns:ns2="75ad2b8d-6faf-4d87-9ad0-2400ed4879fa" xmlns:ns3="eeef0281-e3d1-48de-8bbd-df2e7e85f998" targetNamespace="http://schemas.microsoft.com/office/2006/metadata/properties" ma:root="true" ma:fieldsID="7a47ce0a6c9f2ba8065c2ff69ef47aec" ns1:_="" ns2:_="" ns3:_="">
    <xsd:import namespace="http://schemas.microsoft.com/sharepoint/v3"/>
    <xsd:import namespace="75ad2b8d-6faf-4d87-9ad0-2400ed4879fa"/>
    <xsd:import namespace="eeef0281-e3d1-48de-8bbd-df2e7e85f9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d2b8d-6faf-4d87-9ad0-2400ed4879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ec5f70b-ebd6-4315-9b9b-436645f546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ef0281-e3d1-48de-8bbd-df2e7e85f99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55346c4-43e4-4c76-930c-9aecb384f250}" ma:internalName="TaxCatchAll" ma:showField="CatchAllData" ma:web="eeef0281-e3d1-48de-8bbd-df2e7e85f9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AC4303-FB13-44ED-A10F-851CB5756AAB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eeef0281-e3d1-48de-8bbd-df2e7e85f998"/>
    <ds:schemaRef ds:uri="75ad2b8d-6faf-4d87-9ad0-2400ed4879fa"/>
    <ds:schemaRef ds:uri="http://schemas.microsoft.com/office/2006/metadata/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B7051529-2146-463E-9CD6-0B855EA6E2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5ad2b8d-6faf-4d87-9ad0-2400ed4879fa"/>
    <ds:schemaRef ds:uri="eeef0281-e3d1-48de-8bbd-df2e7e85f9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F3BEBBD-65B4-4C75-869F-BDA74B76B7D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9e08a61-09f6-4c5f-81cc-e15b331ff36a}" enabled="1" method="Standard" siteId="{7123dabd-0e87-4da9-9cb9-b7ec82011aa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ICE_Basic_Template_2022</Template>
  <TotalTime>2806</TotalTime>
  <Words>802</Words>
  <Application>Microsoft Office PowerPoint</Application>
  <PresentationFormat>Widescreen</PresentationFormat>
  <Paragraphs>185</Paragraphs>
  <Slides>19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20</vt:lpstr>
      <vt:lpstr>Aptos</vt:lpstr>
      <vt:lpstr>Arial</vt:lpstr>
      <vt:lpstr>Arial MT Std Light</vt:lpstr>
      <vt:lpstr>Arial Narrow</vt:lpstr>
      <vt:lpstr>Calibri</vt:lpstr>
      <vt:lpstr>Courier New</vt:lpstr>
      <vt:lpstr>Wingdings</vt:lpstr>
      <vt:lpstr>8_Master slide</vt:lpstr>
      <vt:lpstr>think-cell Slide</vt:lpstr>
      <vt:lpstr>NICE Actimize Consortium  </vt:lpstr>
      <vt:lpstr>FC&amp;c Consortium definition1:  A system designed to improve risk detection and mitigation via Collective intelligence , capable of inter-institution data sharing </vt:lpstr>
      <vt:lpstr>Categories of derived value with consortium</vt:lpstr>
      <vt:lpstr>Market drivers for FC&amp;C Consortium</vt:lpstr>
      <vt:lpstr>FC&amp;C Consortium Vision</vt:lpstr>
      <vt:lpstr>FC&amp;C Consortiums by use case &amp; entity</vt:lpstr>
      <vt:lpstr>NICE Actimize’s use case &amp; entity dominance today  </vt:lpstr>
      <vt:lpstr>Key considerations in consortium priorities &amp; planning</vt:lpstr>
      <vt:lpstr>Revenue Model</vt:lpstr>
      <vt:lpstr>Revenue Model assumptions</vt:lpstr>
      <vt:lpstr>Definition of Success:</vt:lpstr>
      <vt:lpstr>Revenue Projection</vt:lpstr>
      <vt:lpstr>Scope of Work</vt:lpstr>
      <vt:lpstr>Scope of Work</vt:lpstr>
      <vt:lpstr>2025 Plan</vt:lpstr>
      <vt:lpstr>HR Plan                                                      </vt:lpstr>
      <vt:lpstr>Appendix</vt:lpstr>
      <vt:lpstr>Onboarding Consortium Offering</vt:lpstr>
      <vt:lpstr>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ad Nissenberg</dc:creator>
  <cp:lastModifiedBy>Sulagna Sasmal</cp:lastModifiedBy>
  <cp:revision>50</cp:revision>
  <cp:lastPrinted>2022-03-07T16:29:41Z</cp:lastPrinted>
  <dcterms:created xsi:type="dcterms:W3CDTF">2021-03-30T09:12:09Z</dcterms:created>
  <dcterms:modified xsi:type="dcterms:W3CDTF">2026-01-24T08:5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F95EA89E20B4D8F27F964EFA6ABA1</vt:lpwstr>
  </property>
  <property fmtid="{D5CDD505-2E9C-101B-9397-08002B2CF9AE}" pid="3" name="MediaServiceImageTags">
    <vt:lpwstr/>
  </property>
</Properties>
</file>